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88" r:id="rId5"/>
    <p:sldMasterId id="2147483712" r:id="rId6"/>
    <p:sldMasterId id="2147483718" r:id="rId7"/>
    <p:sldMasterId id="2147483727" r:id="rId8"/>
    <p:sldMasterId id="2147483734" r:id="rId9"/>
  </p:sldMasterIdLst>
  <p:notesMasterIdLst>
    <p:notesMasterId r:id="rId45"/>
  </p:notesMasterIdLst>
  <p:sldIdLst>
    <p:sldId id="327" r:id="rId10"/>
    <p:sldId id="328" r:id="rId11"/>
    <p:sldId id="343" r:id="rId12"/>
    <p:sldId id="345" r:id="rId13"/>
    <p:sldId id="344" r:id="rId14"/>
    <p:sldId id="329" r:id="rId15"/>
    <p:sldId id="346" r:id="rId16"/>
    <p:sldId id="341" r:id="rId17"/>
    <p:sldId id="332" r:id="rId18"/>
    <p:sldId id="333" r:id="rId19"/>
    <p:sldId id="334" r:id="rId20"/>
    <p:sldId id="336" r:id="rId21"/>
    <p:sldId id="337" r:id="rId22"/>
    <p:sldId id="338" r:id="rId23"/>
    <p:sldId id="339" r:id="rId24"/>
    <p:sldId id="340" r:id="rId25"/>
    <p:sldId id="348" r:id="rId26"/>
    <p:sldId id="342" r:id="rId27"/>
    <p:sldId id="349" r:id="rId28"/>
    <p:sldId id="363" r:id="rId29"/>
    <p:sldId id="372" r:id="rId30"/>
    <p:sldId id="373" r:id="rId31"/>
    <p:sldId id="407" r:id="rId32"/>
    <p:sldId id="408" r:id="rId33"/>
    <p:sldId id="330" r:id="rId34"/>
    <p:sldId id="350" r:id="rId35"/>
    <p:sldId id="351" r:id="rId36"/>
    <p:sldId id="352" r:id="rId37"/>
    <p:sldId id="353" r:id="rId38"/>
    <p:sldId id="354" r:id="rId39"/>
    <p:sldId id="355" r:id="rId40"/>
    <p:sldId id="356" r:id="rId41"/>
    <p:sldId id="357" r:id="rId42"/>
    <p:sldId id="358" r:id="rId43"/>
    <p:sldId id="371" r:id="rId4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nneth Karlsson" initials="KK" lastIdx="4" clrIdx="0">
    <p:extLst>
      <p:ext uri="{19B8F6BF-5375-455C-9EA6-DF929625EA0E}">
        <p15:presenceInfo xmlns:p15="http://schemas.microsoft.com/office/powerpoint/2012/main" userId="Kenneth Karlsson" providerId="None"/>
      </p:ext>
    </p:extLst>
  </p:cmAuthor>
  <p:cmAuthor id="2" name="Ida Græsted Jensen" initials="IGJ" lastIdx="12" clrIdx="1">
    <p:extLst>
      <p:ext uri="{19B8F6BF-5375-455C-9EA6-DF929625EA0E}">
        <p15:presenceInfo xmlns:p15="http://schemas.microsoft.com/office/powerpoint/2012/main" userId="Ida Græsted Jensen" providerId="None"/>
      </p:ext>
    </p:extLst>
  </p:cmAuthor>
  <p:cmAuthor id="3" name="Alexandra Freltoft" initials="AF" lastIdx="1" clrIdx="2">
    <p:extLst>
      <p:ext uri="{19B8F6BF-5375-455C-9EA6-DF929625EA0E}">
        <p15:presenceInfo xmlns:p15="http://schemas.microsoft.com/office/powerpoint/2012/main" userId="Alexandra Freltof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5C76"/>
    <a:srgbClr val="245D72"/>
    <a:srgbClr val="FFFFFF"/>
    <a:srgbClr val="2D4F7F"/>
    <a:srgbClr val="ECECEC"/>
    <a:srgbClr val="EAEAEA"/>
    <a:srgbClr val="679B9A"/>
    <a:srgbClr val="848057"/>
    <a:srgbClr val="B2B2B2"/>
    <a:srgbClr val="EAEA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commentAuthors" Target="commentAuthors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da Græsted Jensen" userId="fb4c501e-fba8-4eb3-9261-0a295c106ad1" providerId="ADAL" clId="{1D4141CD-D826-4662-B999-F7B6C92A0CE7}"/>
    <pc:docChg chg="undo redo custSel addSld delSld modSld sldOrd">
      <pc:chgData name="Ida Græsted Jensen" userId="fb4c501e-fba8-4eb3-9261-0a295c106ad1" providerId="ADAL" clId="{1D4141CD-D826-4662-B999-F7B6C92A0CE7}" dt="2021-08-30T12:49:42.819" v="1771" actId="20577"/>
      <pc:docMkLst>
        <pc:docMk/>
      </pc:docMkLst>
      <pc:sldChg chg="modSp mod">
        <pc:chgData name="Ida Græsted Jensen" userId="fb4c501e-fba8-4eb3-9261-0a295c106ad1" providerId="ADAL" clId="{1D4141CD-D826-4662-B999-F7B6C92A0CE7}" dt="2021-08-29T17:21:52.674" v="2"/>
        <pc:sldMkLst>
          <pc:docMk/>
          <pc:sldMk cId="2110962646" sldId="327"/>
        </pc:sldMkLst>
        <pc:spChg chg="mod">
          <ac:chgData name="Ida Græsted Jensen" userId="fb4c501e-fba8-4eb3-9261-0a295c106ad1" providerId="ADAL" clId="{1D4141CD-D826-4662-B999-F7B6C92A0CE7}" dt="2021-08-29T17:21:52.674" v="2"/>
          <ac:spMkLst>
            <pc:docMk/>
            <pc:sldMk cId="2110962646" sldId="327"/>
            <ac:spMk id="2" creationId="{499EEEAD-CD16-49B3-A510-C8FD74B01658}"/>
          </ac:spMkLst>
        </pc:spChg>
      </pc:sldChg>
      <pc:sldChg chg="modSp mod">
        <pc:chgData name="Ida Græsted Jensen" userId="fb4c501e-fba8-4eb3-9261-0a295c106ad1" providerId="ADAL" clId="{1D4141CD-D826-4662-B999-F7B6C92A0CE7}" dt="2021-08-30T12:24:48.811" v="1628" actId="20577"/>
        <pc:sldMkLst>
          <pc:docMk/>
          <pc:sldMk cId="3388682926" sldId="328"/>
        </pc:sldMkLst>
        <pc:spChg chg="mod">
          <ac:chgData name="Ida Græsted Jensen" userId="fb4c501e-fba8-4eb3-9261-0a295c106ad1" providerId="ADAL" clId="{1D4141CD-D826-4662-B999-F7B6C92A0CE7}" dt="2021-08-30T12:24:48.811" v="1628" actId="20577"/>
          <ac:spMkLst>
            <pc:docMk/>
            <pc:sldMk cId="3388682926" sldId="328"/>
            <ac:spMk id="5" creationId="{679839AA-7C47-4DF1-BB71-A216F49820C6}"/>
          </ac:spMkLst>
        </pc:spChg>
      </pc:sldChg>
      <pc:sldChg chg="modSp mod">
        <pc:chgData name="Ida Græsted Jensen" userId="fb4c501e-fba8-4eb3-9261-0a295c106ad1" providerId="ADAL" clId="{1D4141CD-D826-4662-B999-F7B6C92A0CE7}" dt="2021-08-29T17:26:06.878" v="40" actId="20577"/>
        <pc:sldMkLst>
          <pc:docMk/>
          <pc:sldMk cId="4233716688" sldId="332"/>
        </pc:sldMkLst>
        <pc:spChg chg="mod">
          <ac:chgData name="Ida Græsted Jensen" userId="fb4c501e-fba8-4eb3-9261-0a295c106ad1" providerId="ADAL" clId="{1D4141CD-D826-4662-B999-F7B6C92A0CE7}" dt="2021-08-29T17:26:06.878" v="40" actId="20577"/>
          <ac:spMkLst>
            <pc:docMk/>
            <pc:sldMk cId="4233716688" sldId="332"/>
            <ac:spMk id="3" creationId="{61E99E1E-E385-43A2-962A-CC1419B47520}"/>
          </ac:spMkLst>
        </pc:spChg>
      </pc:sldChg>
      <pc:sldChg chg="modSp mod">
        <pc:chgData name="Ida Græsted Jensen" userId="fb4c501e-fba8-4eb3-9261-0a295c106ad1" providerId="ADAL" clId="{1D4141CD-D826-4662-B999-F7B6C92A0CE7}" dt="2021-08-29T17:26:37.737" v="41" actId="20577"/>
        <pc:sldMkLst>
          <pc:docMk/>
          <pc:sldMk cId="2436027096" sldId="333"/>
        </pc:sldMkLst>
        <pc:spChg chg="mod">
          <ac:chgData name="Ida Græsted Jensen" userId="fb4c501e-fba8-4eb3-9261-0a295c106ad1" providerId="ADAL" clId="{1D4141CD-D826-4662-B999-F7B6C92A0CE7}" dt="2021-08-29T17:26:37.737" v="41" actId="20577"/>
          <ac:spMkLst>
            <pc:docMk/>
            <pc:sldMk cId="2436027096" sldId="333"/>
            <ac:spMk id="9" creationId="{32BFB4EB-F0E1-4334-A1BF-78FC91E71193}"/>
          </ac:spMkLst>
        </pc:spChg>
      </pc:sldChg>
      <pc:sldChg chg="modSp mod delCm">
        <pc:chgData name="Ida Græsted Jensen" userId="fb4c501e-fba8-4eb3-9261-0a295c106ad1" providerId="ADAL" clId="{1D4141CD-D826-4662-B999-F7B6C92A0CE7}" dt="2021-08-29T17:30:04.025" v="104" actId="14"/>
        <pc:sldMkLst>
          <pc:docMk/>
          <pc:sldMk cId="4242418183" sldId="336"/>
        </pc:sldMkLst>
        <pc:spChg chg="mod">
          <ac:chgData name="Ida Græsted Jensen" userId="fb4c501e-fba8-4eb3-9261-0a295c106ad1" providerId="ADAL" clId="{1D4141CD-D826-4662-B999-F7B6C92A0CE7}" dt="2021-08-29T17:30:04.025" v="104" actId="14"/>
          <ac:spMkLst>
            <pc:docMk/>
            <pc:sldMk cId="4242418183" sldId="336"/>
            <ac:spMk id="3" creationId="{61E99E1E-E385-43A2-962A-CC1419B47520}"/>
          </ac:spMkLst>
        </pc:spChg>
      </pc:sldChg>
      <pc:sldChg chg="modSp mod addCm delCm modCm">
        <pc:chgData name="Ida Græsted Jensen" userId="fb4c501e-fba8-4eb3-9261-0a295c106ad1" providerId="ADAL" clId="{1D4141CD-D826-4662-B999-F7B6C92A0CE7}" dt="2021-08-30T07:25:07.835" v="115" actId="20577"/>
        <pc:sldMkLst>
          <pc:docMk/>
          <pc:sldMk cId="2333994642" sldId="341"/>
        </pc:sldMkLst>
        <pc:spChg chg="mod">
          <ac:chgData name="Ida Græsted Jensen" userId="fb4c501e-fba8-4eb3-9261-0a295c106ad1" providerId="ADAL" clId="{1D4141CD-D826-4662-B999-F7B6C92A0CE7}" dt="2021-08-30T07:25:07.835" v="115" actId="20577"/>
          <ac:spMkLst>
            <pc:docMk/>
            <pc:sldMk cId="2333994642" sldId="341"/>
            <ac:spMk id="17" creationId="{CEC3207E-1659-4EB4-9BC4-EEE879FDD4A6}"/>
          </ac:spMkLst>
        </pc:spChg>
      </pc:sldChg>
      <pc:sldChg chg="modSp mod">
        <pc:chgData name="Ida Græsted Jensen" userId="fb4c501e-fba8-4eb3-9261-0a295c106ad1" providerId="ADAL" clId="{1D4141CD-D826-4662-B999-F7B6C92A0CE7}" dt="2021-08-29T17:23:08.966" v="32" actId="20577"/>
        <pc:sldMkLst>
          <pc:docMk/>
          <pc:sldMk cId="4061326826" sldId="344"/>
        </pc:sldMkLst>
        <pc:spChg chg="mod">
          <ac:chgData name="Ida Græsted Jensen" userId="fb4c501e-fba8-4eb3-9261-0a295c106ad1" providerId="ADAL" clId="{1D4141CD-D826-4662-B999-F7B6C92A0CE7}" dt="2021-08-29T17:23:08.966" v="32" actId="20577"/>
          <ac:spMkLst>
            <pc:docMk/>
            <pc:sldMk cId="4061326826" sldId="344"/>
            <ac:spMk id="7" creationId="{8A92024D-05DC-49FC-A4D3-104831445902}"/>
          </ac:spMkLst>
        </pc:spChg>
      </pc:sldChg>
      <pc:sldChg chg="modSp mod">
        <pc:chgData name="Ida Græsted Jensen" userId="fb4c501e-fba8-4eb3-9261-0a295c106ad1" providerId="ADAL" clId="{1D4141CD-D826-4662-B999-F7B6C92A0CE7}" dt="2021-08-30T12:27:05.530" v="1648"/>
        <pc:sldMkLst>
          <pc:docMk/>
          <pc:sldMk cId="486473251" sldId="345"/>
        </pc:sldMkLst>
        <pc:spChg chg="mod">
          <ac:chgData name="Ida Græsted Jensen" userId="fb4c501e-fba8-4eb3-9261-0a295c106ad1" providerId="ADAL" clId="{1D4141CD-D826-4662-B999-F7B6C92A0CE7}" dt="2021-08-30T12:27:05.530" v="1648"/>
          <ac:spMkLst>
            <pc:docMk/>
            <pc:sldMk cId="486473251" sldId="345"/>
            <ac:spMk id="3" creationId="{C6A116B6-2FCB-4276-9C7E-68AAE8FDCA03}"/>
          </ac:spMkLst>
        </pc:spChg>
      </pc:sldChg>
      <pc:sldChg chg="modSp mod">
        <pc:chgData name="Ida Græsted Jensen" userId="fb4c501e-fba8-4eb3-9261-0a295c106ad1" providerId="ADAL" clId="{1D4141CD-D826-4662-B999-F7B6C92A0CE7}" dt="2021-08-29T17:23:54.796" v="35" actId="20577"/>
        <pc:sldMkLst>
          <pc:docMk/>
          <pc:sldMk cId="2315837119" sldId="346"/>
        </pc:sldMkLst>
        <pc:spChg chg="mod">
          <ac:chgData name="Ida Græsted Jensen" userId="fb4c501e-fba8-4eb3-9261-0a295c106ad1" providerId="ADAL" clId="{1D4141CD-D826-4662-B999-F7B6C92A0CE7}" dt="2021-08-29T17:23:54.796" v="35" actId="20577"/>
          <ac:spMkLst>
            <pc:docMk/>
            <pc:sldMk cId="2315837119" sldId="346"/>
            <ac:spMk id="4" creationId="{A3F11507-C087-427A-83AD-B4AF57C64E5C}"/>
          </ac:spMkLst>
        </pc:spChg>
      </pc:sldChg>
      <pc:sldChg chg="modSp mod">
        <pc:chgData name="Ida Græsted Jensen" userId="fb4c501e-fba8-4eb3-9261-0a295c106ad1" providerId="ADAL" clId="{1D4141CD-D826-4662-B999-F7B6C92A0CE7}" dt="2021-08-30T07:10:47.181" v="107" actId="6549"/>
        <pc:sldMkLst>
          <pc:docMk/>
          <pc:sldMk cId="694766735" sldId="349"/>
        </pc:sldMkLst>
        <pc:spChg chg="mod">
          <ac:chgData name="Ida Græsted Jensen" userId="fb4c501e-fba8-4eb3-9261-0a295c106ad1" providerId="ADAL" clId="{1D4141CD-D826-4662-B999-F7B6C92A0CE7}" dt="2021-08-30T07:10:47.181" v="107" actId="6549"/>
          <ac:spMkLst>
            <pc:docMk/>
            <pc:sldMk cId="694766735" sldId="349"/>
            <ac:spMk id="5" creationId="{45963D62-C41D-421D-A5AF-2CB8D14ABA65}"/>
          </ac:spMkLst>
        </pc:spChg>
      </pc:sldChg>
      <pc:sldChg chg="modSp mod">
        <pc:chgData name="Ida Græsted Jensen" userId="fb4c501e-fba8-4eb3-9261-0a295c106ad1" providerId="ADAL" clId="{1D4141CD-D826-4662-B999-F7B6C92A0CE7}" dt="2021-08-30T12:48:37.997" v="1738" actId="20577"/>
        <pc:sldMkLst>
          <pc:docMk/>
          <pc:sldMk cId="2860220639" sldId="350"/>
        </pc:sldMkLst>
        <pc:spChg chg="mod">
          <ac:chgData name="Ida Græsted Jensen" userId="fb4c501e-fba8-4eb3-9261-0a295c106ad1" providerId="ADAL" clId="{1D4141CD-D826-4662-B999-F7B6C92A0CE7}" dt="2021-08-30T12:48:37.997" v="1738" actId="20577"/>
          <ac:spMkLst>
            <pc:docMk/>
            <pc:sldMk cId="2860220639" sldId="350"/>
            <ac:spMk id="5" creationId="{437E0748-5F16-4844-8D58-058707F39266}"/>
          </ac:spMkLst>
        </pc:spChg>
      </pc:sldChg>
      <pc:sldChg chg="modSp mod">
        <pc:chgData name="Ida Græsted Jensen" userId="fb4c501e-fba8-4eb3-9261-0a295c106ad1" providerId="ADAL" clId="{1D4141CD-D826-4662-B999-F7B6C92A0CE7}" dt="2021-08-29T17:33:06.603" v="106" actId="20577"/>
        <pc:sldMkLst>
          <pc:docMk/>
          <pc:sldMk cId="2961358646" sldId="352"/>
        </pc:sldMkLst>
        <pc:spChg chg="mod">
          <ac:chgData name="Ida Græsted Jensen" userId="fb4c501e-fba8-4eb3-9261-0a295c106ad1" providerId="ADAL" clId="{1D4141CD-D826-4662-B999-F7B6C92A0CE7}" dt="2021-08-29T17:33:06.603" v="106" actId="20577"/>
          <ac:spMkLst>
            <pc:docMk/>
            <pc:sldMk cId="2961358646" sldId="352"/>
            <ac:spMk id="12" creationId="{52FE800A-8A50-408C-A056-4CB40DE2A388}"/>
          </ac:spMkLst>
        </pc:spChg>
      </pc:sldChg>
      <pc:sldChg chg="addSp delSp modSp new mod modClrScheme chgLayout">
        <pc:chgData name="Ida Græsted Jensen" userId="fb4c501e-fba8-4eb3-9261-0a295c106ad1" providerId="ADAL" clId="{1D4141CD-D826-4662-B999-F7B6C92A0CE7}" dt="2021-08-30T12:23:46.392" v="1602" actId="1076"/>
        <pc:sldMkLst>
          <pc:docMk/>
          <pc:sldMk cId="735407247" sldId="359"/>
        </pc:sldMkLst>
        <pc:spChg chg="del mod ord">
          <ac:chgData name="Ida Græsted Jensen" userId="fb4c501e-fba8-4eb3-9261-0a295c106ad1" providerId="ADAL" clId="{1D4141CD-D826-4662-B999-F7B6C92A0CE7}" dt="2021-08-30T09:13:49.742" v="117" actId="700"/>
          <ac:spMkLst>
            <pc:docMk/>
            <pc:sldMk cId="735407247" sldId="359"/>
            <ac:spMk id="2" creationId="{1B8F6ABA-2491-4CAB-9CD3-6A08623005BE}"/>
          </ac:spMkLst>
        </pc:spChg>
        <pc:spChg chg="add mod ord">
          <ac:chgData name="Ida Græsted Jensen" userId="fb4c501e-fba8-4eb3-9261-0a295c106ad1" providerId="ADAL" clId="{1D4141CD-D826-4662-B999-F7B6C92A0CE7}" dt="2021-08-30T12:23:44.064" v="1601" actId="1076"/>
          <ac:spMkLst>
            <pc:docMk/>
            <pc:sldMk cId="735407247" sldId="359"/>
            <ac:spMk id="3" creationId="{78FA5842-BBFA-48A2-8F92-99B2B87C12F7}"/>
          </ac:spMkLst>
        </pc:spChg>
        <pc:spChg chg="add mod ord">
          <ac:chgData name="Ida Græsted Jensen" userId="fb4c501e-fba8-4eb3-9261-0a295c106ad1" providerId="ADAL" clId="{1D4141CD-D826-4662-B999-F7B6C92A0CE7}" dt="2021-08-30T12:23:46.392" v="1602" actId="1076"/>
          <ac:spMkLst>
            <pc:docMk/>
            <pc:sldMk cId="735407247" sldId="359"/>
            <ac:spMk id="4" creationId="{8547267D-78FA-4E5E-8368-44694E743002}"/>
          </ac:spMkLst>
        </pc:spChg>
      </pc:sldChg>
      <pc:sldChg chg="addSp delSp modSp new mod modClrScheme chgLayout">
        <pc:chgData name="Ida Græsted Jensen" userId="fb4c501e-fba8-4eb3-9261-0a295c106ad1" providerId="ADAL" clId="{1D4141CD-D826-4662-B999-F7B6C92A0CE7}" dt="2021-08-30T12:24:18.336" v="1604" actId="2711"/>
        <pc:sldMkLst>
          <pc:docMk/>
          <pc:sldMk cId="1325957381" sldId="360"/>
        </pc:sldMkLst>
        <pc:spChg chg="del mod ord">
          <ac:chgData name="Ida Græsted Jensen" userId="fb4c501e-fba8-4eb3-9261-0a295c106ad1" providerId="ADAL" clId="{1D4141CD-D826-4662-B999-F7B6C92A0CE7}" dt="2021-08-30T09:42:25.256" v="338" actId="700"/>
          <ac:spMkLst>
            <pc:docMk/>
            <pc:sldMk cId="1325957381" sldId="360"/>
            <ac:spMk id="2" creationId="{B5636868-2BB0-473E-A0E2-B64AFD31B19E}"/>
          </ac:spMkLst>
        </pc:spChg>
        <pc:spChg chg="del mod ord">
          <ac:chgData name="Ida Græsted Jensen" userId="fb4c501e-fba8-4eb3-9261-0a295c106ad1" providerId="ADAL" clId="{1D4141CD-D826-4662-B999-F7B6C92A0CE7}" dt="2021-08-30T09:42:25.256" v="338" actId="700"/>
          <ac:spMkLst>
            <pc:docMk/>
            <pc:sldMk cId="1325957381" sldId="360"/>
            <ac:spMk id="3" creationId="{BFA103D5-0E51-4986-BCBA-9B284180CAC5}"/>
          </ac:spMkLst>
        </pc:spChg>
        <pc:spChg chg="add mod ord">
          <ac:chgData name="Ida Græsted Jensen" userId="fb4c501e-fba8-4eb3-9261-0a295c106ad1" providerId="ADAL" clId="{1D4141CD-D826-4662-B999-F7B6C92A0CE7}" dt="2021-08-30T10:52:21.165" v="403" actId="20577"/>
          <ac:spMkLst>
            <pc:docMk/>
            <pc:sldMk cId="1325957381" sldId="360"/>
            <ac:spMk id="4" creationId="{A3FEFA99-060F-4311-85BE-FE4AC90DBD8D}"/>
          </ac:spMkLst>
        </pc:spChg>
        <pc:spChg chg="add del mod ord">
          <ac:chgData name="Ida Græsted Jensen" userId="fb4c501e-fba8-4eb3-9261-0a295c106ad1" providerId="ADAL" clId="{1D4141CD-D826-4662-B999-F7B6C92A0CE7}" dt="2021-08-30T09:43:24.581" v="371" actId="700"/>
          <ac:spMkLst>
            <pc:docMk/>
            <pc:sldMk cId="1325957381" sldId="360"/>
            <ac:spMk id="5" creationId="{134EAC04-82A9-42C5-8324-F60F86596BD4}"/>
          </ac:spMkLst>
        </pc:spChg>
        <pc:spChg chg="add del mod ord">
          <ac:chgData name="Ida Græsted Jensen" userId="fb4c501e-fba8-4eb3-9261-0a295c106ad1" providerId="ADAL" clId="{1D4141CD-D826-4662-B999-F7B6C92A0CE7}" dt="2021-08-30T09:43:24.581" v="371" actId="700"/>
          <ac:spMkLst>
            <pc:docMk/>
            <pc:sldMk cId="1325957381" sldId="360"/>
            <ac:spMk id="6" creationId="{95CEB4E8-C658-49A4-BF68-0AF53CF98D74}"/>
          </ac:spMkLst>
        </pc:spChg>
        <pc:spChg chg="add mod ord">
          <ac:chgData name="Ida Græsted Jensen" userId="fb4c501e-fba8-4eb3-9261-0a295c106ad1" providerId="ADAL" clId="{1D4141CD-D826-4662-B999-F7B6C92A0CE7}" dt="2021-08-30T12:24:18.336" v="1604" actId="2711"/>
          <ac:spMkLst>
            <pc:docMk/>
            <pc:sldMk cId="1325957381" sldId="360"/>
            <ac:spMk id="7" creationId="{7A39F8B3-C88D-4F41-A7DE-FB335431172B}"/>
          </ac:spMkLst>
        </pc:spChg>
        <pc:spChg chg="add mod ord">
          <ac:chgData name="Ida Græsted Jensen" userId="fb4c501e-fba8-4eb3-9261-0a295c106ad1" providerId="ADAL" clId="{1D4141CD-D826-4662-B999-F7B6C92A0CE7}" dt="2021-08-30T09:43:24.581" v="371" actId="700"/>
          <ac:spMkLst>
            <pc:docMk/>
            <pc:sldMk cId="1325957381" sldId="360"/>
            <ac:spMk id="8" creationId="{C5319C52-0722-4852-B761-AB0F6C1FA841}"/>
          </ac:spMkLst>
        </pc:spChg>
      </pc:sldChg>
      <pc:sldChg chg="modSp add mod">
        <pc:chgData name="Ida Græsted Jensen" userId="fb4c501e-fba8-4eb3-9261-0a295c106ad1" providerId="ADAL" clId="{1D4141CD-D826-4662-B999-F7B6C92A0CE7}" dt="2021-08-30T12:24:26.208" v="1605" actId="2711"/>
        <pc:sldMkLst>
          <pc:docMk/>
          <pc:sldMk cId="4069797748" sldId="361"/>
        </pc:sldMkLst>
        <pc:spChg chg="mod">
          <ac:chgData name="Ida Græsted Jensen" userId="fb4c501e-fba8-4eb3-9261-0a295c106ad1" providerId="ADAL" clId="{1D4141CD-D826-4662-B999-F7B6C92A0CE7}" dt="2021-08-30T10:52:34.998" v="406" actId="20577"/>
          <ac:spMkLst>
            <pc:docMk/>
            <pc:sldMk cId="4069797748" sldId="361"/>
            <ac:spMk id="4" creationId="{A3FEFA99-060F-4311-85BE-FE4AC90DBD8D}"/>
          </ac:spMkLst>
        </pc:spChg>
        <pc:spChg chg="mod">
          <ac:chgData name="Ida Græsted Jensen" userId="fb4c501e-fba8-4eb3-9261-0a295c106ad1" providerId="ADAL" clId="{1D4141CD-D826-4662-B999-F7B6C92A0CE7}" dt="2021-08-30T12:24:26.208" v="1605" actId="2711"/>
          <ac:spMkLst>
            <pc:docMk/>
            <pc:sldMk cId="4069797748" sldId="361"/>
            <ac:spMk id="7" creationId="{7A39F8B3-C88D-4F41-A7DE-FB335431172B}"/>
          </ac:spMkLst>
        </pc:spChg>
      </pc:sldChg>
      <pc:sldChg chg="addSp delSp modSp new mod ord modClrScheme chgLayout">
        <pc:chgData name="Ida Græsted Jensen" userId="fb4c501e-fba8-4eb3-9261-0a295c106ad1" providerId="ADAL" clId="{1D4141CD-D826-4662-B999-F7B6C92A0CE7}" dt="2021-08-30T12:49:42.819" v="1771" actId="20577"/>
        <pc:sldMkLst>
          <pc:docMk/>
          <pc:sldMk cId="1145091555" sldId="362"/>
        </pc:sldMkLst>
        <pc:spChg chg="del mod ord">
          <ac:chgData name="Ida Græsted Jensen" userId="fb4c501e-fba8-4eb3-9261-0a295c106ad1" providerId="ADAL" clId="{1D4141CD-D826-4662-B999-F7B6C92A0CE7}" dt="2021-08-30T11:04:50.228" v="577" actId="700"/>
          <ac:spMkLst>
            <pc:docMk/>
            <pc:sldMk cId="1145091555" sldId="362"/>
            <ac:spMk id="2" creationId="{5BA14435-87E8-4D9D-BF0D-17DBA9D1CF84}"/>
          </ac:spMkLst>
        </pc:spChg>
        <pc:spChg chg="mod ord">
          <ac:chgData name="Ida Græsted Jensen" userId="fb4c501e-fba8-4eb3-9261-0a295c106ad1" providerId="ADAL" clId="{1D4141CD-D826-4662-B999-F7B6C92A0CE7}" dt="2021-08-30T12:49:42.819" v="1771" actId="20577"/>
          <ac:spMkLst>
            <pc:docMk/>
            <pc:sldMk cId="1145091555" sldId="362"/>
            <ac:spMk id="3" creationId="{7C129A8F-8ED6-45B2-9CB6-9CB108158FE4}"/>
          </ac:spMkLst>
        </pc:spChg>
        <pc:spChg chg="add mod ord">
          <ac:chgData name="Ida Græsted Jensen" userId="fb4c501e-fba8-4eb3-9261-0a295c106ad1" providerId="ADAL" clId="{1D4141CD-D826-4662-B999-F7B6C92A0CE7}" dt="2021-08-30T12:49:31.868" v="1757" actId="700"/>
          <ac:spMkLst>
            <pc:docMk/>
            <pc:sldMk cId="1145091555" sldId="362"/>
            <ac:spMk id="4" creationId="{38AC972B-E864-46E6-B2B5-732658FF0F81}"/>
          </ac:spMkLst>
        </pc:spChg>
        <pc:spChg chg="add del mod ord">
          <ac:chgData name="Ida Græsted Jensen" userId="fb4c501e-fba8-4eb3-9261-0a295c106ad1" providerId="ADAL" clId="{1D4141CD-D826-4662-B999-F7B6C92A0CE7}" dt="2021-08-30T12:49:31.868" v="1757" actId="700"/>
          <ac:spMkLst>
            <pc:docMk/>
            <pc:sldMk cId="1145091555" sldId="362"/>
            <ac:spMk id="5" creationId="{C559A0C2-21FA-4064-AAE8-8F194D5C070B}"/>
          </ac:spMkLst>
        </pc:spChg>
        <pc:spChg chg="add mod ord">
          <ac:chgData name="Ida Græsted Jensen" userId="fb4c501e-fba8-4eb3-9261-0a295c106ad1" providerId="ADAL" clId="{1D4141CD-D826-4662-B999-F7B6C92A0CE7}" dt="2021-08-30T12:49:31.868" v="1757" actId="700"/>
          <ac:spMkLst>
            <pc:docMk/>
            <pc:sldMk cId="1145091555" sldId="362"/>
            <ac:spMk id="8" creationId="{0B6DBF5A-F0D5-4832-86E8-D56AEE29CC4E}"/>
          </ac:spMkLst>
        </pc:spChg>
        <pc:picChg chg="add del">
          <ac:chgData name="Ida Græsted Jensen" userId="fb4c501e-fba8-4eb3-9261-0a295c106ad1" providerId="ADAL" clId="{1D4141CD-D826-4662-B999-F7B6C92A0CE7}" dt="2021-08-30T11:16:54.854" v="1035" actId="22"/>
          <ac:picMkLst>
            <pc:docMk/>
            <pc:sldMk cId="1145091555" sldId="362"/>
            <ac:picMk id="7" creationId="{1F616A8E-3702-4DB2-972C-56DE22E527F7}"/>
          </ac:picMkLst>
        </pc:picChg>
      </pc:sldChg>
      <pc:sldChg chg="modSp add mod modClrScheme chgLayout">
        <pc:chgData name="Ida Græsted Jensen" userId="fb4c501e-fba8-4eb3-9261-0a295c106ad1" providerId="ADAL" clId="{1D4141CD-D826-4662-B999-F7B6C92A0CE7}" dt="2021-08-30T12:46:25.281" v="1653" actId="700"/>
        <pc:sldMkLst>
          <pc:docMk/>
          <pc:sldMk cId="951957157" sldId="363"/>
        </pc:sldMkLst>
        <pc:spChg chg="mod ord">
          <ac:chgData name="Ida Græsted Jensen" userId="fb4c501e-fba8-4eb3-9261-0a295c106ad1" providerId="ADAL" clId="{1D4141CD-D826-4662-B999-F7B6C92A0CE7}" dt="2021-08-30T12:46:25.281" v="1653" actId="700"/>
          <ac:spMkLst>
            <pc:docMk/>
            <pc:sldMk cId="951957157" sldId="363"/>
            <ac:spMk id="2" creationId="{AB854655-617C-42BC-BDBB-D4AE79F8603D}"/>
          </ac:spMkLst>
        </pc:spChg>
      </pc:sldChg>
      <pc:sldChg chg="addSp delSp modSp new mod modClrScheme chgLayout">
        <pc:chgData name="Ida Græsted Jensen" userId="fb4c501e-fba8-4eb3-9261-0a295c106ad1" providerId="ADAL" clId="{1D4141CD-D826-4662-B999-F7B6C92A0CE7}" dt="2021-08-30T11:57:57.423" v="1570" actId="14100"/>
        <pc:sldMkLst>
          <pc:docMk/>
          <pc:sldMk cId="2327838569" sldId="364"/>
        </pc:sldMkLst>
        <pc:spChg chg="del mod ord">
          <ac:chgData name="Ida Græsted Jensen" userId="fb4c501e-fba8-4eb3-9261-0a295c106ad1" providerId="ADAL" clId="{1D4141CD-D826-4662-B999-F7B6C92A0CE7}" dt="2021-08-30T11:26:06.783" v="1142" actId="700"/>
          <ac:spMkLst>
            <pc:docMk/>
            <pc:sldMk cId="2327838569" sldId="364"/>
            <ac:spMk id="2" creationId="{0EB50E96-5BFF-4740-AC66-426675F6B651}"/>
          </ac:spMkLst>
        </pc:spChg>
        <pc:spChg chg="add mod ord">
          <ac:chgData name="Ida Græsted Jensen" userId="fb4c501e-fba8-4eb3-9261-0a295c106ad1" providerId="ADAL" clId="{1D4141CD-D826-4662-B999-F7B6C92A0CE7}" dt="2021-08-30T11:35:52.887" v="1344" actId="1076"/>
          <ac:spMkLst>
            <pc:docMk/>
            <pc:sldMk cId="2327838569" sldId="364"/>
            <ac:spMk id="3" creationId="{A62022D7-4A2B-4994-B1EC-1E1701C83D3F}"/>
          </ac:spMkLst>
        </pc:spChg>
        <pc:spChg chg="add mod ord">
          <ac:chgData name="Ida Græsted Jensen" userId="fb4c501e-fba8-4eb3-9261-0a295c106ad1" providerId="ADAL" clId="{1D4141CD-D826-4662-B999-F7B6C92A0CE7}" dt="2021-08-30T11:36:11.679" v="1381" actId="20577"/>
          <ac:spMkLst>
            <pc:docMk/>
            <pc:sldMk cId="2327838569" sldId="364"/>
            <ac:spMk id="4" creationId="{92E99002-02D8-43F5-BB8E-C16F49DF94C6}"/>
          </ac:spMkLst>
        </pc:spChg>
        <pc:spChg chg="add mod ord">
          <ac:chgData name="Ida Græsted Jensen" userId="fb4c501e-fba8-4eb3-9261-0a295c106ad1" providerId="ADAL" clId="{1D4141CD-D826-4662-B999-F7B6C92A0CE7}" dt="2021-08-30T11:26:06.783" v="1142" actId="700"/>
          <ac:spMkLst>
            <pc:docMk/>
            <pc:sldMk cId="2327838569" sldId="364"/>
            <ac:spMk id="5" creationId="{BD25E695-5E66-43D6-9448-2F5AA559BCCA}"/>
          </ac:spMkLst>
        </pc:spChg>
        <pc:picChg chg="add del mod">
          <ac:chgData name="Ida Græsted Jensen" userId="fb4c501e-fba8-4eb3-9261-0a295c106ad1" providerId="ADAL" clId="{1D4141CD-D826-4662-B999-F7B6C92A0CE7}" dt="2021-08-30T11:33:07.922" v="1333" actId="478"/>
          <ac:picMkLst>
            <pc:docMk/>
            <pc:sldMk cId="2327838569" sldId="364"/>
            <ac:picMk id="7" creationId="{D8B4514E-E160-47CA-9287-970A44ADF66D}"/>
          </ac:picMkLst>
        </pc:picChg>
        <pc:picChg chg="add mod ord modCrop">
          <ac:chgData name="Ida Græsted Jensen" userId="fb4c501e-fba8-4eb3-9261-0a295c106ad1" providerId="ADAL" clId="{1D4141CD-D826-4662-B999-F7B6C92A0CE7}" dt="2021-08-30T11:57:57.423" v="1570" actId="14100"/>
          <ac:picMkLst>
            <pc:docMk/>
            <pc:sldMk cId="2327838569" sldId="364"/>
            <ac:picMk id="9" creationId="{D6B3761A-022A-4E64-A190-B59DBFF27A65}"/>
          </ac:picMkLst>
        </pc:picChg>
        <pc:picChg chg="add del">
          <ac:chgData name="Ida Græsted Jensen" userId="fb4c501e-fba8-4eb3-9261-0a295c106ad1" providerId="ADAL" clId="{1D4141CD-D826-4662-B999-F7B6C92A0CE7}" dt="2021-08-30T11:36:24.293" v="1383" actId="478"/>
          <ac:picMkLst>
            <pc:docMk/>
            <pc:sldMk cId="2327838569" sldId="364"/>
            <ac:picMk id="1026" creationId="{1996454E-3329-4A69-B9BE-545B4ABA8857}"/>
          </ac:picMkLst>
        </pc:picChg>
      </pc:sldChg>
      <pc:sldChg chg="modSp add mod">
        <pc:chgData name="Ida Græsted Jensen" userId="fb4c501e-fba8-4eb3-9261-0a295c106ad1" providerId="ADAL" clId="{1D4141CD-D826-4662-B999-F7B6C92A0CE7}" dt="2021-08-30T11:58:02.937" v="1571" actId="14100"/>
        <pc:sldMkLst>
          <pc:docMk/>
          <pc:sldMk cId="2739622405" sldId="365"/>
        </pc:sldMkLst>
        <pc:spChg chg="mod">
          <ac:chgData name="Ida Græsted Jensen" userId="fb4c501e-fba8-4eb3-9261-0a295c106ad1" providerId="ADAL" clId="{1D4141CD-D826-4662-B999-F7B6C92A0CE7}" dt="2021-08-30T11:43:57.161" v="1413" actId="20577"/>
          <ac:spMkLst>
            <pc:docMk/>
            <pc:sldMk cId="2739622405" sldId="365"/>
            <ac:spMk id="3" creationId="{A62022D7-4A2B-4994-B1EC-1E1701C83D3F}"/>
          </ac:spMkLst>
        </pc:spChg>
        <pc:spChg chg="mod">
          <ac:chgData name="Ida Græsted Jensen" userId="fb4c501e-fba8-4eb3-9261-0a295c106ad1" providerId="ADAL" clId="{1D4141CD-D826-4662-B999-F7B6C92A0CE7}" dt="2021-08-30T11:56:32.107" v="1559" actId="1076"/>
          <ac:spMkLst>
            <pc:docMk/>
            <pc:sldMk cId="2739622405" sldId="365"/>
            <ac:spMk id="4" creationId="{92E99002-02D8-43F5-BB8E-C16F49DF94C6}"/>
          </ac:spMkLst>
        </pc:spChg>
        <pc:picChg chg="mod">
          <ac:chgData name="Ida Græsted Jensen" userId="fb4c501e-fba8-4eb3-9261-0a295c106ad1" providerId="ADAL" clId="{1D4141CD-D826-4662-B999-F7B6C92A0CE7}" dt="2021-08-30T11:58:02.937" v="1571" actId="14100"/>
          <ac:picMkLst>
            <pc:docMk/>
            <pc:sldMk cId="2739622405" sldId="365"/>
            <ac:picMk id="9" creationId="{D6B3761A-022A-4E64-A190-B59DBFF27A65}"/>
          </ac:picMkLst>
        </pc:picChg>
      </pc:sldChg>
      <pc:sldChg chg="modSp add mod">
        <pc:chgData name="Ida Græsted Jensen" userId="fb4c501e-fba8-4eb3-9261-0a295c106ad1" providerId="ADAL" clId="{1D4141CD-D826-4662-B999-F7B6C92A0CE7}" dt="2021-08-30T12:37:46.058" v="1652" actId="207"/>
        <pc:sldMkLst>
          <pc:docMk/>
          <pc:sldMk cId="4109243374" sldId="366"/>
        </pc:sldMkLst>
        <pc:spChg chg="mod">
          <ac:chgData name="Ida Græsted Jensen" userId="fb4c501e-fba8-4eb3-9261-0a295c106ad1" providerId="ADAL" clId="{1D4141CD-D826-4662-B999-F7B6C92A0CE7}" dt="2021-08-30T11:48:13.109" v="1439" actId="6549"/>
          <ac:spMkLst>
            <pc:docMk/>
            <pc:sldMk cId="4109243374" sldId="366"/>
            <ac:spMk id="3" creationId="{A62022D7-4A2B-4994-B1EC-1E1701C83D3F}"/>
          </ac:spMkLst>
        </pc:spChg>
        <pc:spChg chg="mod">
          <ac:chgData name="Ida Græsted Jensen" userId="fb4c501e-fba8-4eb3-9261-0a295c106ad1" providerId="ADAL" clId="{1D4141CD-D826-4662-B999-F7B6C92A0CE7}" dt="2021-08-30T12:37:46.058" v="1652" actId="207"/>
          <ac:spMkLst>
            <pc:docMk/>
            <pc:sldMk cId="4109243374" sldId="366"/>
            <ac:spMk id="4" creationId="{92E99002-02D8-43F5-BB8E-C16F49DF94C6}"/>
          </ac:spMkLst>
        </pc:spChg>
        <pc:picChg chg="mod">
          <ac:chgData name="Ida Græsted Jensen" userId="fb4c501e-fba8-4eb3-9261-0a295c106ad1" providerId="ADAL" clId="{1D4141CD-D826-4662-B999-F7B6C92A0CE7}" dt="2021-08-30T11:58:08.669" v="1572" actId="14100"/>
          <ac:picMkLst>
            <pc:docMk/>
            <pc:sldMk cId="4109243374" sldId="366"/>
            <ac:picMk id="9" creationId="{D6B3761A-022A-4E64-A190-B59DBFF27A65}"/>
          </ac:picMkLst>
        </pc:picChg>
      </pc:sldChg>
      <pc:sldChg chg="new del">
        <pc:chgData name="Ida Græsted Jensen" userId="fb4c501e-fba8-4eb3-9261-0a295c106ad1" providerId="ADAL" clId="{1D4141CD-D826-4662-B999-F7B6C92A0CE7}" dt="2021-08-30T11:52:12.871" v="1481" actId="2696"/>
        <pc:sldMkLst>
          <pc:docMk/>
          <pc:sldMk cId="85345961" sldId="367"/>
        </pc:sldMkLst>
      </pc:sldChg>
      <pc:sldChg chg="addSp delSp modSp new mod modClrScheme chgLayout">
        <pc:chgData name="Ida Græsted Jensen" userId="fb4c501e-fba8-4eb3-9261-0a295c106ad1" providerId="ADAL" clId="{1D4141CD-D826-4662-B999-F7B6C92A0CE7}" dt="2021-08-30T12:02:01.553" v="1584" actId="1037"/>
        <pc:sldMkLst>
          <pc:docMk/>
          <pc:sldMk cId="1817522451" sldId="368"/>
        </pc:sldMkLst>
        <pc:spChg chg="del">
          <ac:chgData name="Ida Græsted Jensen" userId="fb4c501e-fba8-4eb3-9261-0a295c106ad1" providerId="ADAL" clId="{1D4141CD-D826-4662-B999-F7B6C92A0CE7}" dt="2021-08-30T11:52:05.613" v="1480" actId="700"/>
          <ac:spMkLst>
            <pc:docMk/>
            <pc:sldMk cId="1817522451" sldId="368"/>
            <ac:spMk id="2" creationId="{5125F5CF-8122-4CDB-A348-5725B93F0A19}"/>
          </ac:spMkLst>
        </pc:spChg>
        <pc:spChg chg="mod ord">
          <ac:chgData name="Ida Græsted Jensen" userId="fb4c501e-fba8-4eb3-9261-0a295c106ad1" providerId="ADAL" clId="{1D4141CD-D826-4662-B999-F7B6C92A0CE7}" dt="2021-08-30T12:02:01.553" v="1584" actId="1037"/>
          <ac:spMkLst>
            <pc:docMk/>
            <pc:sldMk cId="1817522451" sldId="368"/>
            <ac:spMk id="3" creationId="{1FA3B631-406E-4ECC-9CBD-7AD9CBFD0C1D}"/>
          </ac:spMkLst>
        </pc:spChg>
        <pc:spChg chg="del">
          <ac:chgData name="Ida Græsted Jensen" userId="fb4c501e-fba8-4eb3-9261-0a295c106ad1" providerId="ADAL" clId="{1D4141CD-D826-4662-B999-F7B6C92A0CE7}" dt="2021-08-30T11:52:05.613" v="1480" actId="700"/>
          <ac:spMkLst>
            <pc:docMk/>
            <pc:sldMk cId="1817522451" sldId="368"/>
            <ac:spMk id="4" creationId="{94D92D54-C41F-46E6-A68E-2A04FC3EDD61}"/>
          </ac:spMkLst>
        </pc:spChg>
        <pc:grpChg chg="add mod">
          <ac:chgData name="Ida Græsted Jensen" userId="fb4c501e-fba8-4eb3-9261-0a295c106ad1" providerId="ADAL" clId="{1D4141CD-D826-4662-B999-F7B6C92A0CE7}" dt="2021-08-30T11:57:13.354" v="1565"/>
          <ac:grpSpMkLst>
            <pc:docMk/>
            <pc:sldMk cId="1817522451" sldId="368"/>
            <ac:grpSpMk id="5" creationId="{00000000-0008-0000-0100-00000C000000}"/>
          </ac:grpSpMkLst>
        </pc:grpChg>
        <pc:graphicFrameChg chg="add mod">
          <ac:chgData name="Ida Græsted Jensen" userId="fb4c501e-fba8-4eb3-9261-0a295c106ad1" providerId="ADAL" clId="{1D4141CD-D826-4662-B999-F7B6C92A0CE7}" dt="2021-08-30T11:57:13.354" v="1565"/>
          <ac:graphicFrameMkLst>
            <pc:docMk/>
            <pc:sldMk cId="1817522451" sldId="368"/>
            <ac:graphicFrameMk id="6" creationId="{00000000-0008-0000-0100-000003000000}"/>
          </ac:graphicFrameMkLst>
        </pc:graphicFrameChg>
        <pc:graphicFrameChg chg="add mod">
          <ac:chgData name="Ida Græsted Jensen" userId="fb4c501e-fba8-4eb3-9261-0a295c106ad1" providerId="ADAL" clId="{1D4141CD-D826-4662-B999-F7B6C92A0CE7}" dt="2021-08-30T11:57:13.354" v="1565"/>
          <ac:graphicFrameMkLst>
            <pc:docMk/>
            <pc:sldMk cId="1817522451" sldId="368"/>
            <ac:graphicFrameMk id="7" creationId="{00000000-0008-0000-0100-00000A000000}"/>
          </ac:graphicFrameMkLst>
        </pc:graphicFrameChg>
        <pc:picChg chg="add mod">
          <ac:chgData name="Ida Græsted Jensen" userId="fb4c501e-fba8-4eb3-9261-0a295c106ad1" providerId="ADAL" clId="{1D4141CD-D826-4662-B999-F7B6C92A0CE7}" dt="2021-08-30T12:00:41.767" v="1579" actId="14826"/>
          <ac:picMkLst>
            <pc:docMk/>
            <pc:sldMk cId="1817522451" sldId="368"/>
            <ac:picMk id="8" creationId="{02549ED5-0CAB-45AC-86C3-D406D22FEA46}"/>
          </ac:picMkLst>
        </pc:picChg>
      </pc:sldChg>
      <pc:sldChg chg="addSp delSp modSp add del mod">
        <pc:chgData name="Ida Græsted Jensen" userId="fb4c501e-fba8-4eb3-9261-0a295c106ad1" providerId="ADAL" clId="{1D4141CD-D826-4662-B999-F7B6C92A0CE7}" dt="2021-08-30T12:02:08.700" v="1585" actId="47"/>
        <pc:sldMkLst>
          <pc:docMk/>
          <pc:sldMk cId="1242019505" sldId="369"/>
        </pc:sldMkLst>
        <pc:spChg chg="mod">
          <ac:chgData name="Ida Græsted Jensen" userId="fb4c501e-fba8-4eb3-9261-0a295c106ad1" providerId="ADAL" clId="{1D4141CD-D826-4662-B999-F7B6C92A0CE7}" dt="2021-08-30T12:01:48.286" v="1583" actId="1076"/>
          <ac:spMkLst>
            <pc:docMk/>
            <pc:sldMk cId="1242019505" sldId="369"/>
            <ac:spMk id="3" creationId="{1FA3B631-406E-4ECC-9CBD-7AD9CBFD0C1D}"/>
          </ac:spMkLst>
        </pc:spChg>
        <pc:picChg chg="add mod">
          <ac:chgData name="Ida Græsted Jensen" userId="fb4c501e-fba8-4eb3-9261-0a295c106ad1" providerId="ADAL" clId="{1D4141CD-D826-4662-B999-F7B6C92A0CE7}" dt="2021-08-30T12:00:59.644" v="1580" actId="14826"/>
          <ac:picMkLst>
            <pc:docMk/>
            <pc:sldMk cId="1242019505" sldId="369"/>
            <ac:picMk id="2" creationId="{29243D95-6CDC-4E42-BE94-DF1AE26ED8C3}"/>
          </ac:picMkLst>
        </pc:picChg>
        <pc:picChg chg="del">
          <ac:chgData name="Ida Græsted Jensen" userId="fb4c501e-fba8-4eb3-9261-0a295c106ad1" providerId="ADAL" clId="{1D4141CD-D826-4662-B999-F7B6C92A0CE7}" dt="2021-08-30T11:58:43.205" v="1575" actId="478"/>
          <ac:picMkLst>
            <pc:docMk/>
            <pc:sldMk cId="1242019505" sldId="369"/>
            <ac:picMk id="8" creationId="{02549ED5-0CAB-45AC-86C3-D406D22FEA46}"/>
          </ac:picMkLst>
        </pc:picChg>
      </pc:sldChg>
      <pc:sldChg chg="modSp add mod">
        <pc:chgData name="Ida Græsted Jensen" userId="fb4c501e-fba8-4eb3-9261-0a295c106ad1" providerId="ADAL" clId="{1D4141CD-D826-4662-B999-F7B6C92A0CE7}" dt="2021-08-30T12:35:59.536" v="1649" actId="14826"/>
        <pc:sldMkLst>
          <pc:docMk/>
          <pc:sldMk cId="3140065039" sldId="369"/>
        </pc:sldMkLst>
        <pc:picChg chg="mod">
          <ac:chgData name="Ida Græsted Jensen" userId="fb4c501e-fba8-4eb3-9261-0a295c106ad1" providerId="ADAL" clId="{1D4141CD-D826-4662-B999-F7B6C92A0CE7}" dt="2021-08-30T12:35:59.536" v="1649" actId="14826"/>
          <ac:picMkLst>
            <pc:docMk/>
            <pc:sldMk cId="3140065039" sldId="369"/>
            <ac:picMk id="8" creationId="{02549ED5-0CAB-45AC-86C3-D406D22FEA46}"/>
          </ac:picMkLst>
        </pc:picChg>
      </pc:sldChg>
      <pc:sldChg chg="modSp add mod">
        <pc:chgData name="Ida Græsted Jensen" userId="fb4c501e-fba8-4eb3-9261-0a295c106ad1" providerId="ADAL" clId="{1D4141CD-D826-4662-B999-F7B6C92A0CE7}" dt="2021-08-30T12:03:43.997" v="1593" actId="1076"/>
        <pc:sldMkLst>
          <pc:docMk/>
          <pc:sldMk cId="423523492" sldId="370"/>
        </pc:sldMkLst>
        <pc:picChg chg="mod">
          <ac:chgData name="Ida Græsted Jensen" userId="fb4c501e-fba8-4eb3-9261-0a295c106ad1" providerId="ADAL" clId="{1D4141CD-D826-4662-B999-F7B6C92A0CE7}" dt="2021-08-30T12:03:43.997" v="1593" actId="1076"/>
          <ac:picMkLst>
            <pc:docMk/>
            <pc:sldMk cId="423523492" sldId="370"/>
            <ac:picMk id="8" creationId="{02549ED5-0CAB-45AC-86C3-D406D22FEA46}"/>
          </ac:picMkLst>
        </pc:picChg>
      </pc:sldChg>
      <pc:sldChg chg="modSp mod">
        <pc:chgData name="Ida Græsted Jensen" userId="fb4c501e-fba8-4eb3-9261-0a295c106ad1" providerId="ADAL" clId="{1D4141CD-D826-4662-B999-F7B6C92A0CE7}" dt="2021-08-30T12:49:00.299" v="1744" actId="20577"/>
        <pc:sldMkLst>
          <pc:docMk/>
          <pc:sldMk cId="2455752965" sldId="371"/>
        </pc:sldMkLst>
        <pc:spChg chg="mod">
          <ac:chgData name="Ida Græsted Jensen" userId="fb4c501e-fba8-4eb3-9261-0a295c106ad1" providerId="ADAL" clId="{1D4141CD-D826-4662-B999-F7B6C92A0CE7}" dt="2021-08-30T12:49:00.299" v="1744" actId="20577"/>
          <ac:spMkLst>
            <pc:docMk/>
            <pc:sldMk cId="2455752965" sldId="371"/>
            <ac:spMk id="6" creationId="{FAC3CB03-1836-4A44-9D49-F54BF24C36BB}"/>
          </ac:spMkLst>
        </pc:spChg>
      </pc:sldChg>
    </pc:docChg>
  </pc:docChgLst>
  <pc:docChgLst>
    <pc:chgData name="Alexandra Freltoft" userId="f4e5ae2a-d5e9-4d7b-872b-a6f57ea6ca0c" providerId="ADAL" clId="{019B29F0-9EA8-4207-8E6C-65557385ED14}"/>
    <pc:docChg chg="custSel modSld">
      <pc:chgData name="Alexandra Freltoft" userId="f4e5ae2a-d5e9-4d7b-872b-a6f57ea6ca0c" providerId="ADAL" clId="{019B29F0-9EA8-4207-8E6C-65557385ED14}" dt="2021-12-08T12:09:45.337" v="10" actId="478"/>
      <pc:docMkLst>
        <pc:docMk/>
      </pc:docMkLst>
      <pc:sldChg chg="addSp delSp modSp mod">
        <pc:chgData name="Alexandra Freltoft" userId="f4e5ae2a-d5e9-4d7b-872b-a6f57ea6ca0c" providerId="ADAL" clId="{019B29F0-9EA8-4207-8E6C-65557385ED14}" dt="2021-12-08T12:09:45.337" v="10" actId="478"/>
        <pc:sldMkLst>
          <pc:docMk/>
          <pc:sldMk cId="2315837119" sldId="346"/>
        </pc:sldMkLst>
        <pc:spChg chg="add del mod">
          <ac:chgData name="Alexandra Freltoft" userId="f4e5ae2a-d5e9-4d7b-872b-a6f57ea6ca0c" providerId="ADAL" clId="{019B29F0-9EA8-4207-8E6C-65557385ED14}" dt="2021-12-08T12:09:45.337" v="10" actId="478"/>
          <ac:spMkLst>
            <pc:docMk/>
            <pc:sldMk cId="2315837119" sldId="346"/>
            <ac:spMk id="11" creationId="{DB3BA54C-DB33-455D-A01D-575FEFD56A1A}"/>
          </ac:spMkLst>
        </pc:spChg>
      </pc:sldChg>
    </pc:docChg>
  </pc:docChgLst>
  <pc:docChgLst>
    <pc:chgData name="Alexandra Freltoft" userId="f4e5ae2a-d5e9-4d7b-872b-a6f57ea6ca0c" providerId="ADAL" clId="{534E68FC-8D20-4ED5-B5B7-997AB72B58CC}"/>
    <pc:docChg chg="undo redo custSel addSld delSld modSld sldOrd modMainMaster">
      <pc:chgData name="Alexandra Freltoft" userId="f4e5ae2a-d5e9-4d7b-872b-a6f57ea6ca0c" providerId="ADAL" clId="{534E68FC-8D20-4ED5-B5B7-997AB72B58CC}" dt="2021-09-13T18:27:58.397" v="14010" actId="207"/>
      <pc:docMkLst>
        <pc:docMk/>
      </pc:docMkLst>
      <pc:sldChg chg="modSp mod">
        <pc:chgData name="Alexandra Freltoft" userId="f4e5ae2a-d5e9-4d7b-872b-a6f57ea6ca0c" providerId="ADAL" clId="{534E68FC-8D20-4ED5-B5B7-997AB72B58CC}" dt="2021-08-26T11:47:59.780" v="3871" actId="20577"/>
        <pc:sldMkLst>
          <pc:docMk/>
          <pc:sldMk cId="3388682926" sldId="328"/>
        </pc:sldMkLst>
        <pc:spChg chg="mod">
          <ac:chgData name="Alexandra Freltoft" userId="f4e5ae2a-d5e9-4d7b-872b-a6f57ea6ca0c" providerId="ADAL" clId="{534E68FC-8D20-4ED5-B5B7-997AB72B58CC}" dt="2021-08-26T11:47:59.780" v="3871" actId="20577"/>
          <ac:spMkLst>
            <pc:docMk/>
            <pc:sldMk cId="3388682926" sldId="328"/>
            <ac:spMk id="4" creationId="{B7F74471-951E-4360-A584-F2B44FBA65B7}"/>
          </ac:spMkLst>
        </pc:spChg>
        <pc:spChg chg="mod">
          <ac:chgData name="Alexandra Freltoft" userId="f4e5ae2a-d5e9-4d7b-872b-a6f57ea6ca0c" providerId="ADAL" clId="{534E68FC-8D20-4ED5-B5B7-997AB72B58CC}" dt="2021-08-26T11:47:44.828" v="3858" actId="2711"/>
          <ac:spMkLst>
            <pc:docMk/>
            <pc:sldMk cId="3388682926" sldId="328"/>
            <ac:spMk id="5" creationId="{679839AA-7C47-4DF1-BB71-A216F49820C6}"/>
          </ac:spMkLst>
        </pc:spChg>
      </pc:sldChg>
      <pc:sldChg chg="modSp">
        <pc:chgData name="Alexandra Freltoft" userId="f4e5ae2a-d5e9-4d7b-872b-a6f57ea6ca0c" providerId="ADAL" clId="{534E68FC-8D20-4ED5-B5B7-997AB72B58CC}" dt="2021-08-26T12:17:44.536" v="5150"/>
        <pc:sldMkLst>
          <pc:docMk/>
          <pc:sldMk cId="1516105037" sldId="329"/>
        </pc:sldMkLst>
        <pc:spChg chg="mod">
          <ac:chgData name="Alexandra Freltoft" userId="f4e5ae2a-d5e9-4d7b-872b-a6f57ea6ca0c" providerId="ADAL" clId="{534E68FC-8D20-4ED5-B5B7-997AB72B58CC}" dt="2021-08-26T12:17:44.536" v="5150"/>
          <ac:spMkLst>
            <pc:docMk/>
            <pc:sldMk cId="1516105037" sldId="329"/>
            <ac:spMk id="2" creationId="{933C3B35-727C-4F5A-9C0C-C34FC9D017BB}"/>
          </ac:spMkLst>
        </pc:spChg>
      </pc:sldChg>
      <pc:sldChg chg="addSp delSp modSp mod">
        <pc:chgData name="Alexandra Freltoft" userId="f4e5ae2a-d5e9-4d7b-872b-a6f57ea6ca0c" providerId="ADAL" clId="{534E68FC-8D20-4ED5-B5B7-997AB72B58CC}" dt="2021-08-26T09:14:14.304" v="2303" actId="478"/>
        <pc:sldMkLst>
          <pc:docMk/>
          <pc:sldMk cId="1048366609" sldId="330"/>
        </pc:sldMkLst>
        <pc:grpChg chg="add del mod">
          <ac:chgData name="Alexandra Freltoft" userId="f4e5ae2a-d5e9-4d7b-872b-a6f57ea6ca0c" providerId="ADAL" clId="{534E68FC-8D20-4ED5-B5B7-997AB72B58CC}" dt="2021-08-26T09:13:39.543" v="2297" actId="478"/>
          <ac:grpSpMkLst>
            <pc:docMk/>
            <pc:sldMk cId="1048366609" sldId="330"/>
            <ac:grpSpMk id="3" creationId="{EDC5999F-CD21-44C7-8D38-543BF29DE3D4}"/>
          </ac:grpSpMkLst>
        </pc:grpChg>
        <pc:grpChg chg="add del mod">
          <ac:chgData name="Alexandra Freltoft" userId="f4e5ae2a-d5e9-4d7b-872b-a6f57ea6ca0c" providerId="ADAL" clId="{534E68FC-8D20-4ED5-B5B7-997AB72B58CC}" dt="2021-08-26T09:14:14.304" v="2303" actId="478"/>
          <ac:grpSpMkLst>
            <pc:docMk/>
            <pc:sldMk cId="1048366609" sldId="330"/>
            <ac:grpSpMk id="6" creationId="{BD2964D0-896A-45ED-9246-C492026636D9}"/>
          </ac:grpSpMkLst>
        </pc:grpChg>
        <pc:picChg chg="mod">
          <ac:chgData name="Alexandra Freltoft" userId="f4e5ae2a-d5e9-4d7b-872b-a6f57ea6ca0c" providerId="ADAL" clId="{534E68FC-8D20-4ED5-B5B7-997AB72B58CC}" dt="2021-08-26T09:09:20.190" v="2277"/>
          <ac:picMkLst>
            <pc:docMk/>
            <pc:sldMk cId="1048366609" sldId="330"/>
            <ac:picMk id="4" creationId="{818B0BB8-63D4-4936-88A6-E91C7F32D793}"/>
          </ac:picMkLst>
        </pc:picChg>
        <pc:picChg chg="mod">
          <ac:chgData name="Alexandra Freltoft" userId="f4e5ae2a-d5e9-4d7b-872b-a6f57ea6ca0c" providerId="ADAL" clId="{534E68FC-8D20-4ED5-B5B7-997AB72B58CC}" dt="2021-08-26T09:09:20.190" v="2277"/>
          <ac:picMkLst>
            <pc:docMk/>
            <pc:sldMk cId="1048366609" sldId="330"/>
            <ac:picMk id="5" creationId="{84491AB7-9377-4011-88F5-27C9FDD8BEE9}"/>
          </ac:picMkLst>
        </pc:picChg>
        <pc:picChg chg="mod">
          <ac:chgData name="Alexandra Freltoft" userId="f4e5ae2a-d5e9-4d7b-872b-a6f57ea6ca0c" providerId="ADAL" clId="{534E68FC-8D20-4ED5-B5B7-997AB72B58CC}" dt="2021-08-26T09:09:20.190" v="2277"/>
          <ac:picMkLst>
            <pc:docMk/>
            <pc:sldMk cId="1048366609" sldId="330"/>
            <ac:picMk id="7" creationId="{8A54915A-C698-408E-B940-541A8A620BA4}"/>
          </ac:picMkLst>
        </pc:picChg>
        <pc:picChg chg="mod">
          <ac:chgData name="Alexandra Freltoft" userId="f4e5ae2a-d5e9-4d7b-872b-a6f57ea6ca0c" providerId="ADAL" clId="{534E68FC-8D20-4ED5-B5B7-997AB72B58CC}" dt="2021-08-26T09:09:20.190" v="2277"/>
          <ac:picMkLst>
            <pc:docMk/>
            <pc:sldMk cId="1048366609" sldId="330"/>
            <ac:picMk id="8" creationId="{8A4705AF-E6C1-42BA-8CC4-81989C3F5156}"/>
          </ac:picMkLst>
        </pc:picChg>
        <pc:picChg chg="add del mod">
          <ac:chgData name="Alexandra Freltoft" userId="f4e5ae2a-d5e9-4d7b-872b-a6f57ea6ca0c" providerId="ADAL" clId="{534E68FC-8D20-4ED5-B5B7-997AB72B58CC}" dt="2021-08-26T09:13:39.543" v="2297" actId="478"/>
          <ac:picMkLst>
            <pc:docMk/>
            <pc:sldMk cId="1048366609" sldId="330"/>
            <ac:picMk id="10" creationId="{F2B09472-F091-4BB6-9D52-4398447196A3}"/>
          </ac:picMkLst>
        </pc:picChg>
        <pc:picChg chg="add del mod">
          <ac:chgData name="Alexandra Freltoft" userId="f4e5ae2a-d5e9-4d7b-872b-a6f57ea6ca0c" providerId="ADAL" clId="{534E68FC-8D20-4ED5-B5B7-997AB72B58CC}" dt="2021-08-26T09:13:39.543" v="2297" actId="478"/>
          <ac:picMkLst>
            <pc:docMk/>
            <pc:sldMk cId="1048366609" sldId="330"/>
            <ac:picMk id="12" creationId="{C5E8C8B8-99D3-4ED8-BDCD-5C530E08D262}"/>
          </ac:picMkLst>
        </pc:picChg>
      </pc:sldChg>
      <pc:sldChg chg="addSp delSp modSp mod">
        <pc:chgData name="Alexandra Freltoft" userId="f4e5ae2a-d5e9-4d7b-872b-a6f57ea6ca0c" providerId="ADAL" clId="{534E68FC-8D20-4ED5-B5B7-997AB72B58CC}" dt="2021-08-26T11:46:55.696" v="3807" actId="20577"/>
        <pc:sldMkLst>
          <pc:docMk/>
          <pc:sldMk cId="3151963509" sldId="331"/>
        </pc:sldMkLst>
        <pc:spChg chg="mod">
          <ac:chgData name="Alexandra Freltoft" userId="f4e5ae2a-d5e9-4d7b-872b-a6f57ea6ca0c" providerId="ADAL" clId="{534E68FC-8D20-4ED5-B5B7-997AB72B58CC}" dt="2021-08-26T11:46:55.696" v="3807" actId="20577"/>
          <ac:spMkLst>
            <pc:docMk/>
            <pc:sldMk cId="3151963509" sldId="331"/>
            <ac:spMk id="2" creationId="{5F25DDA7-52C0-4940-8CC1-C1544F4668E4}"/>
          </ac:spMkLst>
        </pc:spChg>
        <pc:grpChg chg="add del mod">
          <ac:chgData name="Alexandra Freltoft" userId="f4e5ae2a-d5e9-4d7b-872b-a6f57ea6ca0c" providerId="ADAL" clId="{534E68FC-8D20-4ED5-B5B7-997AB72B58CC}" dt="2021-08-26T09:14:16.451" v="2304" actId="478"/>
          <ac:grpSpMkLst>
            <pc:docMk/>
            <pc:sldMk cId="3151963509" sldId="331"/>
            <ac:grpSpMk id="3" creationId="{4A261691-2EAC-4819-8209-321F31808AEE}"/>
          </ac:grpSpMkLst>
        </pc:grpChg>
        <pc:picChg chg="mod">
          <ac:chgData name="Alexandra Freltoft" userId="f4e5ae2a-d5e9-4d7b-872b-a6f57ea6ca0c" providerId="ADAL" clId="{534E68FC-8D20-4ED5-B5B7-997AB72B58CC}" dt="2021-08-26T09:13:06.145" v="2289"/>
          <ac:picMkLst>
            <pc:docMk/>
            <pc:sldMk cId="3151963509" sldId="331"/>
            <ac:picMk id="4" creationId="{F4FAA969-0CA1-4400-92F8-356B3E541F8A}"/>
          </ac:picMkLst>
        </pc:picChg>
        <pc:picChg chg="mod">
          <ac:chgData name="Alexandra Freltoft" userId="f4e5ae2a-d5e9-4d7b-872b-a6f57ea6ca0c" providerId="ADAL" clId="{534E68FC-8D20-4ED5-B5B7-997AB72B58CC}" dt="2021-08-26T09:13:06.145" v="2289"/>
          <ac:picMkLst>
            <pc:docMk/>
            <pc:sldMk cId="3151963509" sldId="331"/>
            <ac:picMk id="5" creationId="{63305D3E-062A-4094-8D58-0522EDD127BE}"/>
          </ac:picMkLst>
        </pc:picChg>
      </pc:sldChg>
      <pc:sldChg chg="modSp mod">
        <pc:chgData name="Alexandra Freltoft" userId="f4e5ae2a-d5e9-4d7b-872b-a6f57ea6ca0c" providerId="ADAL" clId="{534E68FC-8D20-4ED5-B5B7-997AB72B58CC}" dt="2021-08-26T12:37:35.706" v="5888" actId="2711"/>
        <pc:sldMkLst>
          <pc:docMk/>
          <pc:sldMk cId="4233716688" sldId="332"/>
        </pc:sldMkLst>
        <pc:spChg chg="mod">
          <ac:chgData name="Alexandra Freltoft" userId="f4e5ae2a-d5e9-4d7b-872b-a6f57ea6ca0c" providerId="ADAL" clId="{534E68FC-8D20-4ED5-B5B7-997AB72B58CC}" dt="2021-08-26T12:37:35.706" v="5888" actId="2711"/>
          <ac:spMkLst>
            <pc:docMk/>
            <pc:sldMk cId="4233716688" sldId="332"/>
            <ac:spMk id="3" creationId="{61E99E1E-E385-43A2-962A-CC1419B47520}"/>
          </ac:spMkLst>
        </pc:spChg>
      </pc:sldChg>
      <pc:sldChg chg="addSp delSp modSp mod">
        <pc:chgData name="Alexandra Freltoft" userId="f4e5ae2a-d5e9-4d7b-872b-a6f57ea6ca0c" providerId="ADAL" clId="{534E68FC-8D20-4ED5-B5B7-997AB72B58CC}" dt="2021-08-30T07:44:04.452" v="7831" actId="20577"/>
        <pc:sldMkLst>
          <pc:docMk/>
          <pc:sldMk cId="2436027096" sldId="333"/>
        </pc:sldMkLst>
        <pc:spChg chg="del">
          <ac:chgData name="Alexandra Freltoft" userId="f4e5ae2a-d5e9-4d7b-872b-a6f57ea6ca0c" providerId="ADAL" clId="{534E68FC-8D20-4ED5-B5B7-997AB72B58CC}" dt="2021-08-26T07:47:42.652" v="120" actId="478"/>
          <ac:spMkLst>
            <pc:docMk/>
            <pc:sldMk cId="2436027096" sldId="333"/>
            <ac:spMk id="4" creationId="{D0D13345-F0D4-4CFC-820B-EC56DE8714C2}"/>
          </ac:spMkLst>
        </pc:spChg>
        <pc:spChg chg="del mod">
          <ac:chgData name="Alexandra Freltoft" userId="f4e5ae2a-d5e9-4d7b-872b-a6f57ea6ca0c" providerId="ADAL" clId="{534E68FC-8D20-4ED5-B5B7-997AB72B58CC}" dt="2021-08-26T07:47:57.072" v="123" actId="478"/>
          <ac:spMkLst>
            <pc:docMk/>
            <pc:sldMk cId="2436027096" sldId="333"/>
            <ac:spMk id="7" creationId="{BF9AD248-8D74-4E18-816A-248F07EBE9C6}"/>
          </ac:spMkLst>
        </pc:spChg>
        <pc:spChg chg="mod">
          <ac:chgData name="Alexandra Freltoft" userId="f4e5ae2a-d5e9-4d7b-872b-a6f57ea6ca0c" providerId="ADAL" clId="{534E68FC-8D20-4ED5-B5B7-997AB72B58CC}" dt="2021-08-26T09:17:31.506" v="2358" actId="1076"/>
          <ac:spMkLst>
            <pc:docMk/>
            <pc:sldMk cId="2436027096" sldId="333"/>
            <ac:spMk id="9" creationId="{32BFB4EB-F0E1-4334-A1BF-78FC91E71193}"/>
          </ac:spMkLst>
        </pc:spChg>
        <pc:spChg chg="add mod">
          <ac:chgData name="Alexandra Freltoft" userId="f4e5ae2a-d5e9-4d7b-872b-a6f57ea6ca0c" providerId="ADAL" clId="{534E68FC-8D20-4ED5-B5B7-997AB72B58CC}" dt="2021-08-26T07:45:07.903" v="102" actId="14100"/>
          <ac:spMkLst>
            <pc:docMk/>
            <pc:sldMk cId="2436027096" sldId="333"/>
            <ac:spMk id="10" creationId="{542A9517-3B81-4988-8F1F-542453E25675}"/>
          </ac:spMkLst>
        </pc:spChg>
        <pc:spChg chg="add mod">
          <ac:chgData name="Alexandra Freltoft" userId="f4e5ae2a-d5e9-4d7b-872b-a6f57ea6ca0c" providerId="ADAL" clId="{534E68FC-8D20-4ED5-B5B7-997AB72B58CC}" dt="2021-08-26T07:47:13.969" v="117" actId="1076"/>
          <ac:spMkLst>
            <pc:docMk/>
            <pc:sldMk cId="2436027096" sldId="333"/>
            <ac:spMk id="11" creationId="{17C267DF-47E8-4553-8024-D4B0FF10E803}"/>
          </ac:spMkLst>
        </pc:spChg>
        <pc:spChg chg="add del mod">
          <ac:chgData name="Alexandra Freltoft" userId="f4e5ae2a-d5e9-4d7b-872b-a6f57ea6ca0c" providerId="ADAL" clId="{534E68FC-8D20-4ED5-B5B7-997AB72B58CC}" dt="2021-08-26T07:47:45.089" v="121" actId="478"/>
          <ac:spMkLst>
            <pc:docMk/>
            <pc:sldMk cId="2436027096" sldId="333"/>
            <ac:spMk id="13" creationId="{77DE3537-96B0-4DAF-AA45-5FFD48C040B1}"/>
          </ac:spMkLst>
        </pc:spChg>
        <pc:spChg chg="add mod">
          <ac:chgData name="Alexandra Freltoft" userId="f4e5ae2a-d5e9-4d7b-872b-a6f57ea6ca0c" providerId="ADAL" clId="{534E68FC-8D20-4ED5-B5B7-997AB72B58CC}" dt="2021-08-30T07:44:04.452" v="7831" actId="20577"/>
          <ac:spMkLst>
            <pc:docMk/>
            <pc:sldMk cId="2436027096" sldId="333"/>
            <ac:spMk id="16" creationId="{14D7E3B9-2194-45BF-A4E7-E8CDB371E5B2}"/>
          </ac:spMkLst>
        </pc:spChg>
        <pc:picChg chg="del">
          <ac:chgData name="Alexandra Freltoft" userId="f4e5ae2a-d5e9-4d7b-872b-a6f57ea6ca0c" providerId="ADAL" clId="{534E68FC-8D20-4ED5-B5B7-997AB72B58CC}" dt="2021-08-26T07:44:39.307" v="96" actId="478"/>
          <ac:picMkLst>
            <pc:docMk/>
            <pc:sldMk cId="2436027096" sldId="333"/>
            <ac:picMk id="6" creationId="{CDAB8C7D-F923-4236-9BA5-AB9D08AA4E86}"/>
          </ac:picMkLst>
        </pc:picChg>
        <pc:picChg chg="add del mod">
          <ac:chgData name="Alexandra Freltoft" userId="f4e5ae2a-d5e9-4d7b-872b-a6f57ea6ca0c" providerId="ADAL" clId="{534E68FC-8D20-4ED5-B5B7-997AB72B58CC}" dt="2021-08-26T07:46:05.412" v="108" actId="21"/>
          <ac:picMkLst>
            <pc:docMk/>
            <pc:sldMk cId="2436027096" sldId="333"/>
            <ac:picMk id="5121" creationId="{70184FB3-0F6F-4EF7-A682-C98DE6806CBB}"/>
          </ac:picMkLst>
        </pc:picChg>
        <pc:picChg chg="add mod">
          <ac:chgData name="Alexandra Freltoft" userId="f4e5ae2a-d5e9-4d7b-872b-a6f57ea6ca0c" providerId="ADAL" clId="{534E68FC-8D20-4ED5-B5B7-997AB72B58CC}" dt="2021-08-26T07:49:18.458" v="156" actId="1076"/>
          <ac:picMkLst>
            <pc:docMk/>
            <pc:sldMk cId="2436027096" sldId="333"/>
            <ac:picMk id="5123" creationId="{B1E62234-20BA-49F0-BA6F-820A8EE59B03}"/>
          </ac:picMkLst>
        </pc:picChg>
      </pc:sldChg>
      <pc:sldChg chg="modSp mod">
        <pc:chgData name="Alexandra Freltoft" userId="f4e5ae2a-d5e9-4d7b-872b-a6f57ea6ca0c" providerId="ADAL" clId="{534E68FC-8D20-4ED5-B5B7-997AB72B58CC}" dt="2021-08-26T10:20:03.056" v="3242" actId="20577"/>
        <pc:sldMkLst>
          <pc:docMk/>
          <pc:sldMk cId="2203265344" sldId="334"/>
        </pc:sldMkLst>
        <pc:spChg chg="mod">
          <ac:chgData name="Alexandra Freltoft" userId="f4e5ae2a-d5e9-4d7b-872b-a6f57ea6ca0c" providerId="ADAL" clId="{534E68FC-8D20-4ED5-B5B7-997AB72B58CC}" dt="2021-08-26T10:20:03.056" v="3242" actId="20577"/>
          <ac:spMkLst>
            <pc:docMk/>
            <pc:sldMk cId="2203265344" sldId="334"/>
            <ac:spMk id="3" creationId="{61E99E1E-E385-43A2-962A-CC1419B47520}"/>
          </ac:spMkLst>
        </pc:spChg>
      </pc:sldChg>
      <pc:sldChg chg="addSp delSp modSp del mod">
        <pc:chgData name="Alexandra Freltoft" userId="f4e5ae2a-d5e9-4d7b-872b-a6f57ea6ca0c" providerId="ADAL" clId="{534E68FC-8D20-4ED5-B5B7-997AB72B58CC}" dt="2021-08-26T12:27:49.236" v="5496" actId="47"/>
        <pc:sldMkLst>
          <pc:docMk/>
          <pc:sldMk cId="2944772254" sldId="335"/>
        </pc:sldMkLst>
        <pc:spChg chg="add mod">
          <ac:chgData name="Alexandra Freltoft" userId="f4e5ae2a-d5e9-4d7b-872b-a6f57ea6ca0c" providerId="ADAL" clId="{534E68FC-8D20-4ED5-B5B7-997AB72B58CC}" dt="2021-08-26T07:20:47.608" v="4" actId="1076"/>
          <ac:spMkLst>
            <pc:docMk/>
            <pc:sldMk cId="2944772254" sldId="335"/>
            <ac:spMk id="4" creationId="{426B4B39-1C00-497F-90C5-6E77DCB27CAA}"/>
          </ac:spMkLst>
        </pc:spChg>
        <pc:spChg chg="add del mod">
          <ac:chgData name="Alexandra Freltoft" userId="f4e5ae2a-d5e9-4d7b-872b-a6f57ea6ca0c" providerId="ADAL" clId="{534E68FC-8D20-4ED5-B5B7-997AB72B58CC}" dt="2021-08-26T11:19:44.464" v="3261"/>
          <ac:spMkLst>
            <pc:docMk/>
            <pc:sldMk cId="2944772254" sldId="335"/>
            <ac:spMk id="6" creationId="{E321CFF9-C268-4592-BD0D-83E187E91202}"/>
          </ac:spMkLst>
        </pc:spChg>
        <pc:spChg chg="add del mod">
          <ac:chgData name="Alexandra Freltoft" userId="f4e5ae2a-d5e9-4d7b-872b-a6f57ea6ca0c" providerId="ADAL" clId="{534E68FC-8D20-4ED5-B5B7-997AB72B58CC}" dt="2021-08-26T11:19:44.464" v="3261"/>
          <ac:spMkLst>
            <pc:docMk/>
            <pc:sldMk cId="2944772254" sldId="335"/>
            <ac:spMk id="7" creationId="{3ACBFB52-0A6A-44CF-BFF0-93942EBD802D}"/>
          </ac:spMkLst>
        </pc:spChg>
        <pc:spChg chg="add del mod">
          <ac:chgData name="Alexandra Freltoft" userId="f4e5ae2a-d5e9-4d7b-872b-a6f57ea6ca0c" providerId="ADAL" clId="{534E68FC-8D20-4ED5-B5B7-997AB72B58CC}" dt="2021-08-26T11:19:44.464" v="3261"/>
          <ac:spMkLst>
            <pc:docMk/>
            <pc:sldMk cId="2944772254" sldId="335"/>
            <ac:spMk id="8" creationId="{0D3AF285-478B-4519-8E0D-BD9FBA11242C}"/>
          </ac:spMkLst>
        </pc:spChg>
        <pc:spChg chg="add mod">
          <ac:chgData name="Alexandra Freltoft" userId="f4e5ae2a-d5e9-4d7b-872b-a6f57ea6ca0c" providerId="ADAL" clId="{534E68FC-8D20-4ED5-B5B7-997AB72B58CC}" dt="2021-08-26T12:14:54.007" v="4917" actId="20577"/>
          <ac:spMkLst>
            <pc:docMk/>
            <pc:sldMk cId="2944772254" sldId="335"/>
            <ac:spMk id="9" creationId="{3F30C776-1B85-4292-9D17-FF83E63EA862}"/>
          </ac:spMkLst>
        </pc:spChg>
        <pc:spChg chg="add mod">
          <ac:chgData name="Alexandra Freltoft" userId="f4e5ae2a-d5e9-4d7b-872b-a6f57ea6ca0c" providerId="ADAL" clId="{534E68FC-8D20-4ED5-B5B7-997AB72B58CC}" dt="2021-08-26T12:16:05.812" v="5057" actId="20577"/>
          <ac:spMkLst>
            <pc:docMk/>
            <pc:sldMk cId="2944772254" sldId="335"/>
            <ac:spMk id="10" creationId="{E52E4532-D410-4AEB-B6BC-E29E508D4E1F}"/>
          </ac:spMkLst>
        </pc:spChg>
        <pc:spChg chg="add mod">
          <ac:chgData name="Alexandra Freltoft" userId="f4e5ae2a-d5e9-4d7b-872b-a6f57ea6ca0c" providerId="ADAL" clId="{534E68FC-8D20-4ED5-B5B7-997AB72B58CC}" dt="2021-08-26T12:16:23.280" v="5089" actId="404"/>
          <ac:spMkLst>
            <pc:docMk/>
            <pc:sldMk cId="2944772254" sldId="335"/>
            <ac:spMk id="11" creationId="{F882FDC7-4E44-4A29-905E-14DFF9AAC378}"/>
          </ac:spMkLst>
        </pc:spChg>
        <pc:spChg chg="add mod">
          <ac:chgData name="Alexandra Freltoft" userId="f4e5ae2a-d5e9-4d7b-872b-a6f57ea6ca0c" providerId="ADAL" clId="{534E68FC-8D20-4ED5-B5B7-997AB72B58CC}" dt="2021-08-26T12:14:35.312" v="4895"/>
          <ac:spMkLst>
            <pc:docMk/>
            <pc:sldMk cId="2944772254" sldId="335"/>
            <ac:spMk id="12" creationId="{B9563AAB-00B2-4B25-817E-9A71B2C3656C}"/>
          </ac:spMkLst>
        </pc:spChg>
        <pc:spChg chg="add mod">
          <ac:chgData name="Alexandra Freltoft" userId="f4e5ae2a-d5e9-4d7b-872b-a6f57ea6ca0c" providerId="ADAL" clId="{534E68FC-8D20-4ED5-B5B7-997AB72B58CC}" dt="2021-08-26T12:15:04.885" v="4931" actId="20577"/>
          <ac:spMkLst>
            <pc:docMk/>
            <pc:sldMk cId="2944772254" sldId="335"/>
            <ac:spMk id="13" creationId="{DA9EBFA4-8AEB-4359-BB07-585E09EC3EF4}"/>
          </ac:spMkLst>
        </pc:spChg>
        <pc:spChg chg="add mod">
          <ac:chgData name="Alexandra Freltoft" userId="f4e5ae2a-d5e9-4d7b-872b-a6f57ea6ca0c" providerId="ADAL" clId="{534E68FC-8D20-4ED5-B5B7-997AB72B58CC}" dt="2021-08-26T12:16:18.658" v="5087" actId="20577"/>
          <ac:spMkLst>
            <pc:docMk/>
            <pc:sldMk cId="2944772254" sldId="335"/>
            <ac:spMk id="14" creationId="{DA06D35C-33CE-4792-89EF-12CC1E597F48}"/>
          </ac:spMkLst>
        </pc:spChg>
        <pc:spChg chg="add mod">
          <ac:chgData name="Alexandra Freltoft" userId="f4e5ae2a-d5e9-4d7b-872b-a6f57ea6ca0c" providerId="ADAL" clId="{534E68FC-8D20-4ED5-B5B7-997AB72B58CC}" dt="2021-08-26T12:14:35.312" v="4895"/>
          <ac:spMkLst>
            <pc:docMk/>
            <pc:sldMk cId="2944772254" sldId="335"/>
            <ac:spMk id="15" creationId="{8BF8E93C-F4EA-46B6-B20F-385C4F663BE8}"/>
          </ac:spMkLst>
        </pc:spChg>
        <pc:picChg chg="del">
          <ac:chgData name="Alexandra Freltoft" userId="f4e5ae2a-d5e9-4d7b-872b-a6f57ea6ca0c" providerId="ADAL" clId="{534E68FC-8D20-4ED5-B5B7-997AB72B58CC}" dt="2021-08-26T11:19:55.918" v="3263" actId="21"/>
          <ac:picMkLst>
            <pc:docMk/>
            <pc:sldMk cId="2944772254" sldId="335"/>
            <ac:picMk id="2" creationId="{663A8A34-D215-4D50-9358-466561B8FBE3}"/>
          </ac:picMkLst>
        </pc:picChg>
        <pc:picChg chg="del">
          <ac:chgData name="Alexandra Freltoft" userId="f4e5ae2a-d5e9-4d7b-872b-a6f57ea6ca0c" providerId="ADAL" clId="{534E68FC-8D20-4ED5-B5B7-997AB72B58CC}" dt="2021-08-26T11:19:55.918" v="3263" actId="21"/>
          <ac:picMkLst>
            <pc:docMk/>
            <pc:sldMk cId="2944772254" sldId="335"/>
            <ac:picMk id="3" creationId="{E6DCC9A0-DAD5-463A-BEAA-734397569949}"/>
          </ac:picMkLst>
        </pc:picChg>
        <pc:picChg chg="del">
          <ac:chgData name="Alexandra Freltoft" userId="f4e5ae2a-d5e9-4d7b-872b-a6f57ea6ca0c" providerId="ADAL" clId="{534E68FC-8D20-4ED5-B5B7-997AB72B58CC}" dt="2021-08-26T11:19:55.918" v="3263" actId="21"/>
          <ac:picMkLst>
            <pc:docMk/>
            <pc:sldMk cId="2944772254" sldId="335"/>
            <ac:picMk id="5" creationId="{C09E1C89-3A59-4C3F-A59E-F2AA4B77CFE9}"/>
          </ac:picMkLst>
        </pc:picChg>
        <pc:picChg chg="del">
          <ac:chgData name="Alexandra Freltoft" userId="f4e5ae2a-d5e9-4d7b-872b-a6f57ea6ca0c" providerId="ADAL" clId="{534E68FC-8D20-4ED5-B5B7-997AB72B58CC}" dt="2021-08-26T11:19:55.918" v="3263" actId="21"/>
          <ac:picMkLst>
            <pc:docMk/>
            <pc:sldMk cId="2944772254" sldId="335"/>
            <ac:picMk id="1026" creationId="{951E407B-C376-46A7-8B9E-7E128531CE45}"/>
          </ac:picMkLst>
        </pc:picChg>
        <pc:picChg chg="add del mod">
          <ac:chgData name="Alexandra Freltoft" userId="f4e5ae2a-d5e9-4d7b-872b-a6f57ea6ca0c" providerId="ADAL" clId="{534E68FC-8D20-4ED5-B5B7-997AB72B58CC}" dt="2021-08-26T07:21:19.801" v="8" actId="478"/>
          <ac:picMkLst>
            <pc:docMk/>
            <pc:sldMk cId="2944772254" sldId="335"/>
            <ac:picMk id="1031" creationId="{DAA8B95F-BA02-4275-BA5B-5BD8433FFE25}"/>
          </ac:picMkLst>
        </pc:picChg>
      </pc:sldChg>
      <pc:sldChg chg="addSp delSp modSp add mod addCm modCm">
        <pc:chgData name="Alexandra Freltoft" userId="f4e5ae2a-d5e9-4d7b-872b-a6f57ea6ca0c" providerId="ADAL" clId="{534E68FC-8D20-4ED5-B5B7-997AB72B58CC}" dt="2021-09-02T09:47:46.206" v="13985" actId="20577"/>
        <pc:sldMkLst>
          <pc:docMk/>
          <pc:sldMk cId="4242418183" sldId="336"/>
        </pc:sldMkLst>
        <pc:spChg chg="mod">
          <ac:chgData name="Alexandra Freltoft" userId="f4e5ae2a-d5e9-4d7b-872b-a6f57ea6ca0c" providerId="ADAL" clId="{534E68FC-8D20-4ED5-B5B7-997AB72B58CC}" dt="2021-09-02T09:47:46.206" v="13985" actId="20577"/>
          <ac:spMkLst>
            <pc:docMk/>
            <pc:sldMk cId="4242418183" sldId="336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26T07:22:33.259" v="25" actId="20577"/>
          <ac:spMkLst>
            <pc:docMk/>
            <pc:sldMk cId="4242418183" sldId="336"/>
            <ac:spMk id="7" creationId="{BF9AD248-8D74-4E18-816A-248F07EBE9C6}"/>
          </ac:spMkLst>
        </pc:spChg>
        <pc:picChg chg="add mod">
          <ac:chgData name="Alexandra Freltoft" userId="f4e5ae2a-d5e9-4d7b-872b-a6f57ea6ca0c" providerId="ADAL" clId="{534E68FC-8D20-4ED5-B5B7-997AB72B58CC}" dt="2021-08-26T07:22:22.807" v="16" actId="167"/>
          <ac:picMkLst>
            <pc:docMk/>
            <pc:sldMk cId="4242418183" sldId="336"/>
            <ac:picMk id="5" creationId="{9853009F-9FF6-48CC-A7CD-DA17353B8CA5}"/>
          </ac:picMkLst>
        </pc:picChg>
        <pc:picChg chg="del">
          <ac:chgData name="Alexandra Freltoft" userId="f4e5ae2a-d5e9-4d7b-872b-a6f57ea6ca0c" providerId="ADAL" clId="{534E68FC-8D20-4ED5-B5B7-997AB72B58CC}" dt="2021-08-26T07:22:25.006" v="17" actId="478"/>
          <ac:picMkLst>
            <pc:docMk/>
            <pc:sldMk cId="4242418183" sldId="336"/>
            <ac:picMk id="8" creationId="{51B3F684-29CD-48D0-93A9-33C61B7B7F1B}"/>
          </ac:picMkLst>
        </pc:picChg>
      </pc:sldChg>
      <pc:sldChg chg="addSp delSp modSp add mod">
        <pc:chgData name="Alexandra Freltoft" userId="f4e5ae2a-d5e9-4d7b-872b-a6f57ea6ca0c" providerId="ADAL" clId="{534E68FC-8D20-4ED5-B5B7-997AB72B58CC}" dt="2021-08-26T08:37:07.853" v="2276" actId="20577"/>
        <pc:sldMkLst>
          <pc:docMk/>
          <pc:sldMk cId="3462625276" sldId="337"/>
        </pc:sldMkLst>
        <pc:spChg chg="mod">
          <ac:chgData name="Alexandra Freltoft" userId="f4e5ae2a-d5e9-4d7b-872b-a6f57ea6ca0c" providerId="ADAL" clId="{534E68FC-8D20-4ED5-B5B7-997AB72B58CC}" dt="2021-08-26T08:37:07.853" v="2276" actId="20577"/>
          <ac:spMkLst>
            <pc:docMk/>
            <pc:sldMk cId="3462625276" sldId="337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26T07:54:35.683" v="248" actId="207"/>
          <ac:spMkLst>
            <pc:docMk/>
            <pc:sldMk cId="3462625276" sldId="337"/>
            <ac:spMk id="7" creationId="{BF9AD248-8D74-4E18-816A-248F07EBE9C6}"/>
          </ac:spMkLst>
        </pc:spChg>
        <pc:picChg chg="add mod ord modCrop">
          <ac:chgData name="Alexandra Freltoft" userId="f4e5ae2a-d5e9-4d7b-872b-a6f57ea6ca0c" providerId="ADAL" clId="{534E68FC-8D20-4ED5-B5B7-997AB72B58CC}" dt="2021-08-26T07:26:44.523" v="40" actId="167"/>
          <ac:picMkLst>
            <pc:docMk/>
            <pc:sldMk cId="3462625276" sldId="337"/>
            <ac:picMk id="4" creationId="{2E8C1D60-D910-437E-A973-52A64E5A9075}"/>
          </ac:picMkLst>
        </pc:picChg>
        <pc:picChg chg="del">
          <ac:chgData name="Alexandra Freltoft" userId="f4e5ae2a-d5e9-4d7b-872b-a6f57ea6ca0c" providerId="ADAL" clId="{534E68FC-8D20-4ED5-B5B7-997AB72B58CC}" dt="2021-08-26T07:26:46.272" v="41" actId="478"/>
          <ac:picMkLst>
            <pc:docMk/>
            <pc:sldMk cId="3462625276" sldId="337"/>
            <ac:picMk id="5" creationId="{9853009F-9FF6-48CC-A7CD-DA17353B8CA5}"/>
          </ac:picMkLst>
        </pc:picChg>
        <pc:picChg chg="add del mod">
          <ac:chgData name="Alexandra Freltoft" userId="f4e5ae2a-d5e9-4d7b-872b-a6f57ea6ca0c" providerId="ADAL" clId="{534E68FC-8D20-4ED5-B5B7-997AB72B58CC}" dt="2021-08-26T07:26:23.025" v="35" actId="478"/>
          <ac:picMkLst>
            <pc:docMk/>
            <pc:sldMk cId="3462625276" sldId="337"/>
            <ac:picMk id="8" creationId="{C78FE1DE-F51C-4263-98D7-E5936CEDEF0C}"/>
          </ac:picMkLst>
        </pc:picChg>
      </pc:sldChg>
      <pc:sldChg chg="addSp delSp modSp add mod">
        <pc:chgData name="Alexandra Freltoft" userId="f4e5ae2a-d5e9-4d7b-872b-a6f57ea6ca0c" providerId="ADAL" clId="{534E68FC-8D20-4ED5-B5B7-997AB72B58CC}" dt="2021-09-02T09:49:22.793" v="14002" actId="20577"/>
        <pc:sldMkLst>
          <pc:docMk/>
          <pc:sldMk cId="1362297801" sldId="338"/>
        </pc:sldMkLst>
        <pc:spChg chg="del mod">
          <ac:chgData name="Alexandra Freltoft" userId="f4e5ae2a-d5e9-4d7b-872b-a6f57ea6ca0c" providerId="ADAL" clId="{534E68FC-8D20-4ED5-B5B7-997AB72B58CC}" dt="2021-08-26T08:22:51.328" v="1423" actId="478"/>
          <ac:spMkLst>
            <pc:docMk/>
            <pc:sldMk cId="1362297801" sldId="338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26T11:38:15.790" v="3572" actId="20577"/>
          <ac:spMkLst>
            <pc:docMk/>
            <pc:sldMk cId="1362297801" sldId="338"/>
            <ac:spMk id="7" creationId="{BF9AD248-8D74-4E18-816A-248F07EBE9C6}"/>
          </ac:spMkLst>
        </pc:spChg>
        <pc:spChg chg="add del mod">
          <ac:chgData name="Alexandra Freltoft" userId="f4e5ae2a-d5e9-4d7b-872b-a6f57ea6ca0c" providerId="ADAL" clId="{534E68FC-8D20-4ED5-B5B7-997AB72B58CC}" dt="2021-08-26T08:22:59.506" v="1425" actId="478"/>
          <ac:spMkLst>
            <pc:docMk/>
            <pc:sldMk cId="1362297801" sldId="338"/>
            <ac:spMk id="8" creationId="{32E59E85-BCAF-422C-A02C-93111E6AE6FC}"/>
          </ac:spMkLst>
        </pc:spChg>
        <pc:spChg chg="add mod ord">
          <ac:chgData name="Alexandra Freltoft" userId="f4e5ae2a-d5e9-4d7b-872b-a6f57ea6ca0c" providerId="ADAL" clId="{534E68FC-8D20-4ED5-B5B7-997AB72B58CC}" dt="2021-08-26T11:20:28.761" v="3268" actId="164"/>
          <ac:spMkLst>
            <pc:docMk/>
            <pc:sldMk cId="1362297801" sldId="338"/>
            <ac:spMk id="9" creationId="{6EE8B55A-5962-4AF0-BC63-C06E2879570D}"/>
          </ac:spMkLst>
        </pc:spChg>
        <pc:spChg chg="add mod">
          <ac:chgData name="Alexandra Freltoft" userId="f4e5ae2a-d5e9-4d7b-872b-a6f57ea6ca0c" providerId="ADAL" clId="{534E68FC-8D20-4ED5-B5B7-997AB72B58CC}" dt="2021-09-02T09:49:22.793" v="14002" actId="20577"/>
          <ac:spMkLst>
            <pc:docMk/>
            <pc:sldMk cId="1362297801" sldId="338"/>
            <ac:spMk id="10" creationId="{11178A42-BA4F-40ED-A28B-5E819ACFF038}"/>
          </ac:spMkLst>
        </pc:spChg>
        <pc:grpChg chg="add mod">
          <ac:chgData name="Alexandra Freltoft" userId="f4e5ae2a-d5e9-4d7b-872b-a6f57ea6ca0c" providerId="ADAL" clId="{534E68FC-8D20-4ED5-B5B7-997AB72B58CC}" dt="2021-08-26T11:20:28.761" v="3268" actId="164"/>
          <ac:grpSpMkLst>
            <pc:docMk/>
            <pc:sldMk cId="1362297801" sldId="338"/>
            <ac:grpSpMk id="2" creationId="{D2E36A80-4623-4BD9-9B34-D614B04D6F3B}"/>
          </ac:grpSpMkLst>
        </pc:grpChg>
        <pc:picChg chg="del mod">
          <ac:chgData name="Alexandra Freltoft" userId="f4e5ae2a-d5e9-4d7b-872b-a6f57ea6ca0c" providerId="ADAL" clId="{534E68FC-8D20-4ED5-B5B7-997AB72B58CC}" dt="2021-08-26T07:31:39.749" v="67" actId="478"/>
          <ac:picMkLst>
            <pc:docMk/>
            <pc:sldMk cId="1362297801" sldId="338"/>
            <ac:picMk id="4" creationId="{2E8C1D60-D910-437E-A973-52A64E5A9075}"/>
          </ac:picMkLst>
        </pc:picChg>
        <pc:picChg chg="add del mod">
          <ac:chgData name="Alexandra Freltoft" userId="f4e5ae2a-d5e9-4d7b-872b-a6f57ea6ca0c" providerId="ADAL" clId="{534E68FC-8D20-4ED5-B5B7-997AB72B58CC}" dt="2021-08-26T07:30:38.241" v="56" actId="478"/>
          <ac:picMkLst>
            <pc:docMk/>
            <pc:sldMk cId="1362297801" sldId="338"/>
            <ac:picMk id="5" creationId="{F577DEC9-EEA9-446B-9226-25BE6F4EB328}"/>
          </ac:picMkLst>
        </pc:picChg>
        <pc:picChg chg="add del mod">
          <ac:chgData name="Alexandra Freltoft" userId="f4e5ae2a-d5e9-4d7b-872b-a6f57ea6ca0c" providerId="ADAL" clId="{534E68FC-8D20-4ED5-B5B7-997AB72B58CC}" dt="2021-08-26T11:20:28.761" v="3268" actId="164"/>
          <ac:picMkLst>
            <pc:docMk/>
            <pc:sldMk cId="1362297801" sldId="338"/>
            <ac:picMk id="2050" creationId="{1ADA71E8-9E65-4F6D-99C8-CEBE572FE86F}"/>
          </ac:picMkLst>
        </pc:picChg>
      </pc:sldChg>
      <pc:sldChg chg="addSp delSp modSp add mod">
        <pc:chgData name="Alexandra Freltoft" userId="f4e5ae2a-d5e9-4d7b-872b-a6f57ea6ca0c" providerId="ADAL" clId="{534E68FC-8D20-4ED5-B5B7-997AB72B58CC}" dt="2021-08-26T11:26:04.405" v="3335" actId="18131"/>
        <pc:sldMkLst>
          <pc:docMk/>
          <pc:sldMk cId="598196902" sldId="339"/>
        </pc:sldMkLst>
        <pc:spChg chg="del">
          <ac:chgData name="Alexandra Freltoft" userId="f4e5ae2a-d5e9-4d7b-872b-a6f57ea6ca0c" providerId="ADAL" clId="{534E68FC-8D20-4ED5-B5B7-997AB72B58CC}" dt="2021-08-26T08:16:44.187" v="1018" actId="478"/>
          <ac:spMkLst>
            <pc:docMk/>
            <pc:sldMk cId="598196902" sldId="339"/>
            <ac:spMk id="3" creationId="{61E99E1E-E385-43A2-962A-CC1419B47520}"/>
          </ac:spMkLst>
        </pc:spChg>
        <pc:spChg chg="add mod">
          <ac:chgData name="Alexandra Freltoft" userId="f4e5ae2a-d5e9-4d7b-872b-a6f57ea6ca0c" providerId="ADAL" clId="{534E68FC-8D20-4ED5-B5B7-997AB72B58CC}" dt="2021-08-26T07:54:04.996" v="234" actId="1076"/>
          <ac:spMkLst>
            <pc:docMk/>
            <pc:sldMk cId="598196902" sldId="339"/>
            <ac:spMk id="6" creationId="{AF5B3E46-3580-411E-9AC5-A12E8666E0F4}"/>
          </ac:spMkLst>
        </pc:spChg>
        <pc:spChg chg="del">
          <ac:chgData name="Alexandra Freltoft" userId="f4e5ae2a-d5e9-4d7b-872b-a6f57ea6ca0c" providerId="ADAL" clId="{534E68FC-8D20-4ED5-B5B7-997AB72B58CC}" dt="2021-08-26T07:49:48.550" v="159" actId="478"/>
          <ac:spMkLst>
            <pc:docMk/>
            <pc:sldMk cId="598196902" sldId="339"/>
            <ac:spMk id="7" creationId="{BF9AD248-8D74-4E18-816A-248F07EBE9C6}"/>
          </ac:spMkLst>
        </pc:spChg>
        <pc:spChg chg="add del mod">
          <ac:chgData name="Alexandra Freltoft" userId="f4e5ae2a-d5e9-4d7b-872b-a6f57ea6ca0c" providerId="ADAL" clId="{534E68FC-8D20-4ED5-B5B7-997AB72B58CC}" dt="2021-08-26T08:16:55.314" v="1021" actId="478"/>
          <ac:spMkLst>
            <pc:docMk/>
            <pc:sldMk cId="598196902" sldId="339"/>
            <ac:spMk id="9" creationId="{6F95937B-B342-4B3C-8C3E-F2EDA6C4AD02}"/>
          </ac:spMkLst>
        </pc:spChg>
        <pc:spChg chg="add del mod">
          <ac:chgData name="Alexandra Freltoft" userId="f4e5ae2a-d5e9-4d7b-872b-a6f57ea6ca0c" providerId="ADAL" clId="{534E68FC-8D20-4ED5-B5B7-997AB72B58CC}" dt="2021-08-26T08:20:58.648" v="1404" actId="478"/>
          <ac:spMkLst>
            <pc:docMk/>
            <pc:sldMk cId="598196902" sldId="339"/>
            <ac:spMk id="10" creationId="{C0B37C92-B079-429D-8628-21BCF8A18F7A}"/>
          </ac:spMkLst>
        </pc:spChg>
        <pc:spChg chg="add del mod ord">
          <ac:chgData name="Alexandra Freltoft" userId="f4e5ae2a-d5e9-4d7b-872b-a6f57ea6ca0c" providerId="ADAL" clId="{534E68FC-8D20-4ED5-B5B7-997AB72B58CC}" dt="2021-08-26T08:21:05.156" v="1406" actId="478"/>
          <ac:spMkLst>
            <pc:docMk/>
            <pc:sldMk cId="598196902" sldId="339"/>
            <ac:spMk id="11" creationId="{81A1D252-B43A-40C9-A63C-C71D339FC1E6}"/>
          </ac:spMkLst>
        </pc:spChg>
        <pc:spChg chg="add mod">
          <ac:chgData name="Alexandra Freltoft" userId="f4e5ae2a-d5e9-4d7b-872b-a6f57ea6ca0c" providerId="ADAL" clId="{534E68FC-8D20-4ED5-B5B7-997AB72B58CC}" dt="2021-08-26T08:22:27.609" v="1422" actId="3064"/>
          <ac:spMkLst>
            <pc:docMk/>
            <pc:sldMk cId="598196902" sldId="339"/>
            <ac:spMk id="12" creationId="{7E37F1A2-BEDE-4F9B-A971-B50934307532}"/>
          </ac:spMkLst>
        </pc:spChg>
        <pc:spChg chg="add del mod">
          <ac:chgData name="Alexandra Freltoft" userId="f4e5ae2a-d5e9-4d7b-872b-a6f57ea6ca0c" providerId="ADAL" clId="{534E68FC-8D20-4ED5-B5B7-997AB72B58CC}" dt="2021-08-26T08:20:55.726" v="1403" actId="478"/>
          <ac:spMkLst>
            <pc:docMk/>
            <pc:sldMk cId="598196902" sldId="339"/>
            <ac:spMk id="13" creationId="{F0805E40-6753-4BAA-856A-EA495B6AAE25}"/>
          </ac:spMkLst>
        </pc:spChg>
        <pc:picChg chg="add del mod ord modCrop">
          <ac:chgData name="Alexandra Freltoft" userId="f4e5ae2a-d5e9-4d7b-872b-a6f57ea6ca0c" providerId="ADAL" clId="{534E68FC-8D20-4ED5-B5B7-997AB72B58CC}" dt="2021-08-26T07:54:08.474" v="243" actId="478"/>
          <ac:picMkLst>
            <pc:docMk/>
            <pc:sldMk cId="598196902" sldId="339"/>
            <ac:picMk id="4" creationId="{45B6036E-9106-410F-AA28-A52D9A9CF636}"/>
          </ac:picMkLst>
        </pc:picChg>
        <pc:picChg chg="add del mod">
          <ac:chgData name="Alexandra Freltoft" userId="f4e5ae2a-d5e9-4d7b-872b-a6f57ea6ca0c" providerId="ADAL" clId="{534E68FC-8D20-4ED5-B5B7-997AB72B58CC}" dt="2021-08-26T11:26:04.405" v="3335" actId="18131"/>
          <ac:picMkLst>
            <pc:docMk/>
            <pc:sldMk cId="598196902" sldId="339"/>
            <ac:picMk id="5" creationId="{8573C262-9A05-4E5A-8734-7882A3FB805A}"/>
          </ac:picMkLst>
        </pc:picChg>
        <pc:picChg chg="del">
          <ac:chgData name="Alexandra Freltoft" userId="f4e5ae2a-d5e9-4d7b-872b-a6f57ea6ca0c" providerId="ADAL" clId="{534E68FC-8D20-4ED5-B5B7-997AB72B58CC}" dt="2021-08-26T07:49:38.199" v="158" actId="478"/>
          <ac:picMkLst>
            <pc:docMk/>
            <pc:sldMk cId="598196902" sldId="339"/>
            <ac:picMk id="2050" creationId="{1ADA71E8-9E65-4F6D-99C8-CEBE572FE86F}"/>
          </ac:picMkLst>
        </pc:picChg>
      </pc:sldChg>
      <pc:sldChg chg="addSp delSp modSp add mod">
        <pc:chgData name="Alexandra Freltoft" userId="f4e5ae2a-d5e9-4d7b-872b-a6f57ea6ca0c" providerId="ADAL" clId="{534E68FC-8D20-4ED5-B5B7-997AB72B58CC}" dt="2021-08-26T12:37:40.792" v="5890" actId="2711"/>
        <pc:sldMkLst>
          <pc:docMk/>
          <pc:sldMk cId="49333331" sldId="340"/>
        </pc:sldMkLst>
        <pc:spChg chg="mod">
          <ac:chgData name="Alexandra Freltoft" userId="f4e5ae2a-d5e9-4d7b-872b-a6f57ea6ca0c" providerId="ADAL" clId="{534E68FC-8D20-4ED5-B5B7-997AB72B58CC}" dt="2021-08-26T12:37:40.792" v="5890" actId="2711"/>
          <ac:spMkLst>
            <pc:docMk/>
            <pc:sldMk cId="49333331" sldId="340"/>
            <ac:spMk id="3" creationId="{61E99E1E-E385-43A2-962A-CC1419B47520}"/>
          </ac:spMkLst>
        </pc:spChg>
        <pc:spChg chg="del">
          <ac:chgData name="Alexandra Freltoft" userId="f4e5ae2a-d5e9-4d7b-872b-a6f57ea6ca0c" providerId="ADAL" clId="{534E68FC-8D20-4ED5-B5B7-997AB72B58CC}" dt="2021-08-26T07:54:17.727" v="245" actId="478"/>
          <ac:spMkLst>
            <pc:docMk/>
            <pc:sldMk cId="49333331" sldId="340"/>
            <ac:spMk id="6" creationId="{AF5B3E46-3580-411E-9AC5-A12E8666E0F4}"/>
          </ac:spMkLst>
        </pc:spChg>
        <pc:spChg chg="add mod">
          <ac:chgData name="Alexandra Freltoft" userId="f4e5ae2a-d5e9-4d7b-872b-a6f57ea6ca0c" providerId="ADAL" clId="{534E68FC-8D20-4ED5-B5B7-997AB72B58CC}" dt="2021-08-26T07:54:18.216" v="246"/>
          <ac:spMkLst>
            <pc:docMk/>
            <pc:sldMk cId="49333331" sldId="340"/>
            <ac:spMk id="8" creationId="{7C3E2E86-3770-4F52-95BF-2F61D2282F00}"/>
          </ac:spMkLst>
        </pc:spChg>
        <pc:picChg chg="del">
          <ac:chgData name="Alexandra Freltoft" userId="f4e5ae2a-d5e9-4d7b-872b-a6f57ea6ca0c" providerId="ADAL" clId="{534E68FC-8D20-4ED5-B5B7-997AB72B58CC}" dt="2021-08-26T07:54:17.727" v="245" actId="478"/>
          <ac:picMkLst>
            <pc:docMk/>
            <pc:sldMk cId="49333331" sldId="340"/>
            <ac:picMk id="5" creationId="{8573C262-9A05-4E5A-8734-7882A3FB805A}"/>
          </ac:picMkLst>
        </pc:picChg>
        <pc:picChg chg="add mod">
          <ac:chgData name="Alexandra Freltoft" userId="f4e5ae2a-d5e9-4d7b-872b-a6f57ea6ca0c" providerId="ADAL" clId="{534E68FC-8D20-4ED5-B5B7-997AB72B58CC}" dt="2021-08-26T07:54:18.216" v="246"/>
          <ac:picMkLst>
            <pc:docMk/>
            <pc:sldMk cId="49333331" sldId="340"/>
            <ac:picMk id="7" creationId="{9AD1FA7B-A723-43FD-83DA-EFEE67CB19A9}"/>
          </ac:picMkLst>
        </pc:picChg>
      </pc:sldChg>
      <pc:sldChg chg="addSp delSp modSp new mod delCm">
        <pc:chgData name="Alexandra Freltoft" userId="f4e5ae2a-d5e9-4d7b-872b-a6f57ea6ca0c" providerId="ADAL" clId="{534E68FC-8D20-4ED5-B5B7-997AB72B58CC}" dt="2021-08-30T08:20:01.529" v="7845" actId="14100"/>
        <pc:sldMkLst>
          <pc:docMk/>
          <pc:sldMk cId="2333994642" sldId="341"/>
        </pc:sldMkLst>
        <pc:spChg chg="mod topLvl">
          <ac:chgData name="Alexandra Freltoft" userId="f4e5ae2a-d5e9-4d7b-872b-a6f57ea6ca0c" providerId="ADAL" clId="{534E68FC-8D20-4ED5-B5B7-997AB72B58CC}" dt="2021-08-26T11:44:09.331" v="3675" actId="165"/>
          <ac:spMkLst>
            <pc:docMk/>
            <pc:sldMk cId="2333994642" sldId="341"/>
            <ac:spMk id="9" creationId="{A799C71E-2AF0-4045-8E43-8B82F2664507}"/>
          </ac:spMkLst>
        </pc:spChg>
        <pc:spChg chg="add mod topLvl">
          <ac:chgData name="Alexandra Freltoft" userId="f4e5ae2a-d5e9-4d7b-872b-a6f57ea6ca0c" providerId="ADAL" clId="{534E68FC-8D20-4ED5-B5B7-997AB72B58CC}" dt="2021-08-30T07:43:49.805" v="7823" actId="20577"/>
          <ac:spMkLst>
            <pc:docMk/>
            <pc:sldMk cId="2333994642" sldId="341"/>
            <ac:spMk id="14" creationId="{3A4D3D82-37BC-47C1-B258-22B04BB7B8A3}"/>
          </ac:spMkLst>
        </pc:spChg>
        <pc:spChg chg="add del mod">
          <ac:chgData name="Alexandra Freltoft" userId="f4e5ae2a-d5e9-4d7b-872b-a6f57ea6ca0c" providerId="ADAL" clId="{534E68FC-8D20-4ED5-B5B7-997AB72B58CC}" dt="2021-08-26T11:34:02.753" v="3435" actId="478"/>
          <ac:spMkLst>
            <pc:docMk/>
            <pc:sldMk cId="2333994642" sldId="341"/>
            <ac:spMk id="15" creationId="{F92307DC-1487-44E5-BDF8-DB4E432E8D76}"/>
          </ac:spMkLst>
        </pc:spChg>
        <pc:spChg chg="add mod topLvl">
          <ac:chgData name="Alexandra Freltoft" userId="f4e5ae2a-d5e9-4d7b-872b-a6f57ea6ca0c" providerId="ADAL" clId="{534E68FC-8D20-4ED5-B5B7-997AB72B58CC}" dt="2021-08-26T11:44:31.897" v="3707" actId="1036"/>
          <ac:spMkLst>
            <pc:docMk/>
            <pc:sldMk cId="2333994642" sldId="341"/>
            <ac:spMk id="16" creationId="{1BD9FACA-9EE3-4360-9400-91FE8E147EF8}"/>
          </ac:spMkLst>
        </pc:spChg>
        <pc:spChg chg="add mod topLvl">
          <ac:chgData name="Alexandra Freltoft" userId="f4e5ae2a-d5e9-4d7b-872b-a6f57ea6ca0c" providerId="ADAL" clId="{534E68FC-8D20-4ED5-B5B7-997AB72B58CC}" dt="2021-08-26T11:44:31.897" v="3707" actId="1036"/>
          <ac:spMkLst>
            <pc:docMk/>
            <pc:sldMk cId="2333994642" sldId="341"/>
            <ac:spMk id="17" creationId="{CEC3207E-1659-4EB4-9BC4-EEE879FDD4A6}"/>
          </ac:spMkLst>
        </pc:spChg>
        <pc:spChg chg="add mod topLvl">
          <ac:chgData name="Alexandra Freltoft" userId="f4e5ae2a-d5e9-4d7b-872b-a6f57ea6ca0c" providerId="ADAL" clId="{534E68FC-8D20-4ED5-B5B7-997AB72B58CC}" dt="2021-08-26T11:44:31.897" v="3707" actId="1036"/>
          <ac:spMkLst>
            <pc:docMk/>
            <pc:sldMk cId="2333994642" sldId="341"/>
            <ac:spMk id="18" creationId="{C1386FEA-5500-4CD2-B9A6-4D89AE4767CA}"/>
          </ac:spMkLst>
        </pc:spChg>
        <pc:spChg chg="add mod topLvl">
          <ac:chgData name="Alexandra Freltoft" userId="f4e5ae2a-d5e9-4d7b-872b-a6f57ea6ca0c" providerId="ADAL" clId="{534E68FC-8D20-4ED5-B5B7-997AB72B58CC}" dt="2021-08-26T11:44:17.208" v="3679" actId="1038"/>
          <ac:spMkLst>
            <pc:docMk/>
            <pc:sldMk cId="2333994642" sldId="341"/>
            <ac:spMk id="19" creationId="{612A8598-7B72-4197-872D-1D298F8A8848}"/>
          </ac:spMkLst>
        </pc:spChg>
        <pc:spChg chg="add mod topLvl">
          <ac:chgData name="Alexandra Freltoft" userId="f4e5ae2a-d5e9-4d7b-872b-a6f57ea6ca0c" providerId="ADAL" clId="{534E68FC-8D20-4ED5-B5B7-997AB72B58CC}" dt="2021-08-26T11:44:35.848" v="3708" actId="1038"/>
          <ac:spMkLst>
            <pc:docMk/>
            <pc:sldMk cId="2333994642" sldId="341"/>
            <ac:spMk id="20" creationId="{13A04703-4E5E-4C94-84B8-21C8D69E308A}"/>
          </ac:spMkLst>
        </pc:spChg>
        <pc:spChg chg="add mod topLvl">
          <ac:chgData name="Alexandra Freltoft" userId="f4e5ae2a-d5e9-4d7b-872b-a6f57ea6ca0c" providerId="ADAL" clId="{534E68FC-8D20-4ED5-B5B7-997AB72B58CC}" dt="2021-08-26T11:44:09.331" v="3675" actId="165"/>
          <ac:spMkLst>
            <pc:docMk/>
            <pc:sldMk cId="2333994642" sldId="341"/>
            <ac:spMk id="21" creationId="{3B3500DE-56E9-4651-B633-0214044A33C4}"/>
          </ac:spMkLst>
        </pc:spChg>
        <pc:spChg chg="add mod topLvl">
          <ac:chgData name="Alexandra Freltoft" userId="f4e5ae2a-d5e9-4d7b-872b-a6f57ea6ca0c" providerId="ADAL" clId="{534E68FC-8D20-4ED5-B5B7-997AB72B58CC}" dt="2021-08-30T08:20:01.529" v="7845" actId="14100"/>
          <ac:spMkLst>
            <pc:docMk/>
            <pc:sldMk cId="2333994642" sldId="341"/>
            <ac:spMk id="22" creationId="{5F240773-D9B9-436B-88CA-71B3D3770773}"/>
          </ac:spMkLst>
        </pc:spChg>
        <pc:spChg chg="add mod">
          <ac:chgData name="Alexandra Freltoft" userId="f4e5ae2a-d5e9-4d7b-872b-a6f57ea6ca0c" providerId="ADAL" clId="{534E68FC-8D20-4ED5-B5B7-997AB72B58CC}" dt="2021-08-26T11:45:30.921" v="3769" actId="1076"/>
          <ac:spMkLst>
            <pc:docMk/>
            <pc:sldMk cId="2333994642" sldId="341"/>
            <ac:spMk id="23" creationId="{2B265135-2568-4E09-825A-320140F73821}"/>
          </ac:spMkLst>
        </pc:spChg>
        <pc:spChg chg="add del mod">
          <ac:chgData name="Alexandra Freltoft" userId="f4e5ae2a-d5e9-4d7b-872b-a6f57ea6ca0c" providerId="ADAL" clId="{534E68FC-8D20-4ED5-B5B7-997AB72B58CC}" dt="2021-08-26T11:39:16.813" v="3606" actId="478"/>
          <ac:spMkLst>
            <pc:docMk/>
            <pc:sldMk cId="2333994642" sldId="341"/>
            <ac:spMk id="24" creationId="{7C20006B-0BA6-42AD-93CC-6AA871E6D52F}"/>
          </ac:spMkLst>
        </pc:spChg>
        <pc:spChg chg="add del mod">
          <ac:chgData name="Alexandra Freltoft" userId="f4e5ae2a-d5e9-4d7b-872b-a6f57ea6ca0c" providerId="ADAL" clId="{534E68FC-8D20-4ED5-B5B7-997AB72B58CC}" dt="2021-08-26T11:39:18.957" v="3607" actId="478"/>
          <ac:spMkLst>
            <pc:docMk/>
            <pc:sldMk cId="2333994642" sldId="341"/>
            <ac:spMk id="25" creationId="{D2B54F38-1219-4881-8435-CD55C1F44E64}"/>
          </ac:spMkLst>
        </pc:spChg>
        <pc:grpChg chg="add del mod">
          <ac:chgData name="Alexandra Freltoft" userId="f4e5ae2a-d5e9-4d7b-872b-a6f57ea6ca0c" providerId="ADAL" clId="{534E68FC-8D20-4ED5-B5B7-997AB72B58CC}" dt="2021-08-26T11:27:26.414" v="3350" actId="165"/>
          <ac:grpSpMkLst>
            <pc:docMk/>
            <pc:sldMk cId="2333994642" sldId="341"/>
            <ac:grpSpMk id="8" creationId="{B8657A3F-5D9F-451D-96DD-C29969D41F4D}"/>
          </ac:grpSpMkLst>
        </pc:grpChg>
        <pc:grpChg chg="add del mod">
          <ac:chgData name="Alexandra Freltoft" userId="f4e5ae2a-d5e9-4d7b-872b-a6f57ea6ca0c" providerId="ADAL" clId="{534E68FC-8D20-4ED5-B5B7-997AB72B58CC}" dt="2021-08-26T11:44:09.331" v="3675" actId="165"/>
          <ac:grpSpMkLst>
            <pc:docMk/>
            <pc:sldMk cId="2333994642" sldId="341"/>
            <ac:grpSpMk id="26" creationId="{FD2F41CB-711C-4170-8A3A-F3358E55EB95}"/>
          </ac:grpSpMkLst>
        </pc:grpChg>
        <pc:picChg chg="add mod ord topLvl modCrop">
          <ac:chgData name="Alexandra Freltoft" userId="f4e5ae2a-d5e9-4d7b-872b-a6f57ea6ca0c" providerId="ADAL" clId="{534E68FC-8D20-4ED5-B5B7-997AB72B58CC}" dt="2021-08-26T11:44:31.897" v="3707" actId="1036"/>
          <ac:picMkLst>
            <pc:docMk/>
            <pc:sldMk cId="2333994642" sldId="341"/>
            <ac:picMk id="2" creationId="{4A4658F5-5F06-435E-9EFE-D8341C5687A7}"/>
          </ac:picMkLst>
        </pc:picChg>
        <pc:picChg chg="add del mod">
          <ac:chgData name="Alexandra Freltoft" userId="f4e5ae2a-d5e9-4d7b-872b-a6f57ea6ca0c" providerId="ADAL" clId="{534E68FC-8D20-4ED5-B5B7-997AB72B58CC}" dt="2021-08-26T11:20:08.115" v="3266" actId="478"/>
          <ac:picMkLst>
            <pc:docMk/>
            <pc:sldMk cId="2333994642" sldId="341"/>
            <ac:picMk id="3" creationId="{5FB75504-7B0E-472D-8DBE-122238B13BC3}"/>
          </ac:picMkLst>
        </pc:picChg>
        <pc:picChg chg="add mod topLvl">
          <ac:chgData name="Alexandra Freltoft" userId="f4e5ae2a-d5e9-4d7b-872b-a6f57ea6ca0c" providerId="ADAL" clId="{534E68FC-8D20-4ED5-B5B7-997AB72B58CC}" dt="2021-08-26T11:44:31.897" v="3707" actId="1036"/>
          <ac:picMkLst>
            <pc:docMk/>
            <pc:sldMk cId="2333994642" sldId="341"/>
            <ac:picMk id="4" creationId="{F708FB72-68CE-42BE-B9F6-91903F47E699}"/>
          </ac:picMkLst>
        </pc:picChg>
        <pc:picChg chg="add mod topLvl modCrop">
          <ac:chgData name="Alexandra Freltoft" userId="f4e5ae2a-d5e9-4d7b-872b-a6f57ea6ca0c" providerId="ADAL" clId="{534E68FC-8D20-4ED5-B5B7-997AB72B58CC}" dt="2021-08-26T11:44:31.897" v="3707" actId="1036"/>
          <ac:picMkLst>
            <pc:docMk/>
            <pc:sldMk cId="2333994642" sldId="341"/>
            <ac:picMk id="5" creationId="{A771EB83-8F2D-4632-8ACB-7FF964262F90}"/>
          </ac:picMkLst>
        </pc:picChg>
        <pc:picChg chg="add mod topLvl">
          <ac:chgData name="Alexandra Freltoft" userId="f4e5ae2a-d5e9-4d7b-872b-a6f57ea6ca0c" providerId="ADAL" clId="{534E68FC-8D20-4ED5-B5B7-997AB72B58CC}" dt="2021-08-26T11:44:31.897" v="3707" actId="1036"/>
          <ac:picMkLst>
            <pc:docMk/>
            <pc:sldMk cId="2333994642" sldId="341"/>
            <ac:picMk id="6" creationId="{D5F701C0-F2E7-4FC9-A70A-5352A8E05D00}"/>
          </ac:picMkLst>
        </pc:picChg>
        <pc:picChg chg="add mod topLvl modCrop">
          <ac:chgData name="Alexandra Freltoft" userId="f4e5ae2a-d5e9-4d7b-872b-a6f57ea6ca0c" providerId="ADAL" clId="{534E68FC-8D20-4ED5-B5B7-997AB72B58CC}" dt="2021-08-26T11:44:09.331" v="3675" actId="165"/>
          <ac:picMkLst>
            <pc:docMk/>
            <pc:sldMk cId="2333994642" sldId="341"/>
            <ac:picMk id="7" creationId="{0E661540-2D96-4AB5-AA6C-94CE6BAE5C2A}"/>
          </ac:picMkLst>
        </pc:picChg>
        <pc:picChg chg="mod topLvl">
          <ac:chgData name="Alexandra Freltoft" userId="f4e5ae2a-d5e9-4d7b-872b-a6f57ea6ca0c" providerId="ADAL" clId="{534E68FC-8D20-4ED5-B5B7-997AB72B58CC}" dt="2021-08-26T11:44:09.331" v="3675" actId="165"/>
          <ac:picMkLst>
            <pc:docMk/>
            <pc:sldMk cId="2333994642" sldId="341"/>
            <ac:picMk id="10" creationId="{0EB95360-2E55-44CE-9596-238DCE93D4A4}"/>
          </ac:picMkLst>
        </pc:picChg>
        <pc:picChg chg="add del mod">
          <ac:chgData name="Alexandra Freltoft" userId="f4e5ae2a-d5e9-4d7b-872b-a6f57ea6ca0c" providerId="ADAL" clId="{534E68FC-8D20-4ED5-B5B7-997AB72B58CC}" dt="2021-08-26T11:26:39.944" v="3341" actId="478"/>
          <ac:picMkLst>
            <pc:docMk/>
            <pc:sldMk cId="2333994642" sldId="341"/>
            <ac:picMk id="11" creationId="{13ABB5E8-6D48-4C7F-BC98-704EFE6D1EC9}"/>
          </ac:picMkLst>
        </pc:picChg>
        <pc:picChg chg="add mod topLvl modCrop">
          <ac:chgData name="Alexandra Freltoft" userId="f4e5ae2a-d5e9-4d7b-872b-a6f57ea6ca0c" providerId="ADAL" clId="{534E68FC-8D20-4ED5-B5B7-997AB72B58CC}" dt="2021-08-26T11:44:09.331" v="3675" actId="165"/>
          <ac:picMkLst>
            <pc:docMk/>
            <pc:sldMk cId="2333994642" sldId="341"/>
            <ac:picMk id="12" creationId="{299CF8B2-E1C1-4228-BB63-407161528E0B}"/>
          </ac:picMkLst>
        </pc:picChg>
        <pc:picChg chg="add mod topLvl">
          <ac:chgData name="Alexandra Freltoft" userId="f4e5ae2a-d5e9-4d7b-872b-a6f57ea6ca0c" providerId="ADAL" clId="{534E68FC-8D20-4ED5-B5B7-997AB72B58CC}" dt="2021-08-26T11:44:09.331" v="3675" actId="165"/>
          <ac:picMkLst>
            <pc:docMk/>
            <pc:sldMk cId="2333994642" sldId="341"/>
            <ac:picMk id="13" creationId="{6155EB06-8E66-45D4-BE91-A0B2BCB24916}"/>
          </ac:picMkLst>
        </pc:picChg>
      </pc:sldChg>
      <pc:sldChg chg="modSp add mod">
        <pc:chgData name="Alexandra Freltoft" userId="f4e5ae2a-d5e9-4d7b-872b-a6f57ea6ca0c" providerId="ADAL" clId="{534E68FC-8D20-4ED5-B5B7-997AB72B58CC}" dt="2021-08-26T12:58:43.258" v="6197"/>
        <pc:sldMkLst>
          <pc:docMk/>
          <pc:sldMk cId="3207104195" sldId="342"/>
        </pc:sldMkLst>
        <pc:spChg chg="mod">
          <ac:chgData name="Alexandra Freltoft" userId="f4e5ae2a-d5e9-4d7b-872b-a6f57ea6ca0c" providerId="ADAL" clId="{534E68FC-8D20-4ED5-B5B7-997AB72B58CC}" dt="2021-08-26T12:58:43.258" v="6197"/>
          <ac:spMkLst>
            <pc:docMk/>
            <pc:sldMk cId="3207104195" sldId="342"/>
            <ac:spMk id="2" creationId="{933C3B35-727C-4F5A-9C0C-C34FC9D017BB}"/>
          </ac:spMkLst>
        </pc:spChg>
      </pc:sldChg>
      <pc:sldChg chg="modSp new mod">
        <pc:chgData name="Alexandra Freltoft" userId="f4e5ae2a-d5e9-4d7b-872b-a6f57ea6ca0c" providerId="ADAL" clId="{534E68FC-8D20-4ED5-B5B7-997AB72B58CC}" dt="2021-08-26T11:49:08.818" v="3914" actId="6549"/>
        <pc:sldMkLst>
          <pc:docMk/>
          <pc:sldMk cId="2933585380" sldId="343"/>
        </pc:sldMkLst>
        <pc:spChg chg="mod">
          <ac:chgData name="Alexandra Freltoft" userId="f4e5ae2a-d5e9-4d7b-872b-a6f57ea6ca0c" providerId="ADAL" clId="{534E68FC-8D20-4ED5-B5B7-997AB72B58CC}" dt="2021-08-26T11:49:08.818" v="3914" actId="6549"/>
          <ac:spMkLst>
            <pc:docMk/>
            <pc:sldMk cId="2933585380" sldId="343"/>
            <ac:spMk id="2" creationId="{0F326A6F-E5BB-4986-B635-8726FD3893F0}"/>
          </ac:spMkLst>
        </pc:spChg>
      </pc:sldChg>
      <pc:sldChg chg="addSp modSp new mod">
        <pc:chgData name="Alexandra Freltoft" userId="f4e5ae2a-d5e9-4d7b-872b-a6f57ea6ca0c" providerId="ADAL" clId="{534E68FC-8D20-4ED5-B5B7-997AB72B58CC}" dt="2021-08-26T12:01:09.477" v="4528" actId="1076"/>
        <pc:sldMkLst>
          <pc:docMk/>
          <pc:sldMk cId="4061326826" sldId="344"/>
        </pc:sldMkLst>
        <pc:spChg chg="mod">
          <ac:chgData name="Alexandra Freltoft" userId="f4e5ae2a-d5e9-4d7b-872b-a6f57ea6ca0c" providerId="ADAL" clId="{534E68FC-8D20-4ED5-B5B7-997AB72B58CC}" dt="2021-08-26T11:55:36.091" v="4326" actId="20577"/>
          <ac:spMkLst>
            <pc:docMk/>
            <pc:sldMk cId="4061326826" sldId="344"/>
            <ac:spMk id="2" creationId="{FA283F1A-AF54-4F78-BCD7-C2535FC9F063}"/>
          </ac:spMkLst>
        </pc:spChg>
        <pc:spChg chg="mod">
          <ac:chgData name="Alexandra Freltoft" userId="f4e5ae2a-d5e9-4d7b-872b-a6f57ea6ca0c" providerId="ADAL" clId="{534E68FC-8D20-4ED5-B5B7-997AB72B58CC}" dt="2021-08-26T11:50:22.053" v="3936" actId="20577"/>
          <ac:spMkLst>
            <pc:docMk/>
            <pc:sldMk cId="4061326826" sldId="344"/>
            <ac:spMk id="3" creationId="{5D6B2389-3D49-4884-888E-BBD93E6EBC35}"/>
          </ac:spMkLst>
        </pc:spChg>
        <pc:spChg chg="mod">
          <ac:chgData name="Alexandra Freltoft" userId="f4e5ae2a-d5e9-4d7b-872b-a6f57ea6ca0c" providerId="ADAL" clId="{534E68FC-8D20-4ED5-B5B7-997AB72B58CC}" dt="2021-08-26T11:55:48.329" v="4329" actId="20577"/>
          <ac:spMkLst>
            <pc:docMk/>
            <pc:sldMk cId="4061326826" sldId="344"/>
            <ac:spMk id="4" creationId="{CCA8C37A-6940-4E8D-BCC1-83825A5B2A9E}"/>
          </ac:spMkLst>
        </pc:spChg>
        <pc:spChg chg="mod">
          <ac:chgData name="Alexandra Freltoft" userId="f4e5ae2a-d5e9-4d7b-872b-a6f57ea6ca0c" providerId="ADAL" clId="{534E68FC-8D20-4ED5-B5B7-997AB72B58CC}" dt="2021-08-26T11:58:06.913" v="4387" actId="20577"/>
          <ac:spMkLst>
            <pc:docMk/>
            <pc:sldMk cId="4061326826" sldId="344"/>
            <ac:spMk id="5" creationId="{D221C875-EAC5-4522-ADDE-37D95E2F8938}"/>
          </ac:spMkLst>
        </pc:spChg>
        <pc:spChg chg="mod">
          <ac:chgData name="Alexandra Freltoft" userId="f4e5ae2a-d5e9-4d7b-872b-a6f57ea6ca0c" providerId="ADAL" clId="{534E68FC-8D20-4ED5-B5B7-997AB72B58CC}" dt="2021-08-26T11:50:42.373" v="3945" actId="20577"/>
          <ac:spMkLst>
            <pc:docMk/>
            <pc:sldMk cId="4061326826" sldId="344"/>
            <ac:spMk id="6" creationId="{6C51EB09-AA13-461F-831C-7864690B5E35}"/>
          </ac:spMkLst>
        </pc:spChg>
        <pc:spChg chg="mod">
          <ac:chgData name="Alexandra Freltoft" userId="f4e5ae2a-d5e9-4d7b-872b-a6f57ea6ca0c" providerId="ADAL" clId="{534E68FC-8D20-4ED5-B5B7-997AB72B58CC}" dt="2021-08-26T11:50:54.398" v="3946"/>
          <ac:spMkLst>
            <pc:docMk/>
            <pc:sldMk cId="4061326826" sldId="344"/>
            <ac:spMk id="7" creationId="{8A92024D-05DC-49FC-A4D3-104831445902}"/>
          </ac:spMkLst>
        </pc:spChg>
        <pc:spChg chg="mod">
          <ac:chgData name="Alexandra Freltoft" userId="f4e5ae2a-d5e9-4d7b-872b-a6f57ea6ca0c" providerId="ADAL" clId="{534E68FC-8D20-4ED5-B5B7-997AB72B58CC}" dt="2021-08-26T11:51:06.749" v="3947"/>
          <ac:spMkLst>
            <pc:docMk/>
            <pc:sldMk cId="4061326826" sldId="344"/>
            <ac:spMk id="8" creationId="{95AE65B6-2570-462B-AAA9-1A0987044600}"/>
          </ac:spMkLst>
        </pc:spChg>
        <pc:spChg chg="add mod">
          <ac:chgData name="Alexandra Freltoft" userId="f4e5ae2a-d5e9-4d7b-872b-a6f57ea6ca0c" providerId="ADAL" clId="{534E68FC-8D20-4ED5-B5B7-997AB72B58CC}" dt="2021-08-26T12:01:09.477" v="4528" actId="1076"/>
          <ac:spMkLst>
            <pc:docMk/>
            <pc:sldMk cId="4061326826" sldId="344"/>
            <ac:spMk id="9" creationId="{CA141E3B-727A-44B4-B96D-89D5B29A4862}"/>
          </ac:spMkLst>
        </pc:spChg>
      </pc:sldChg>
      <pc:sldChg chg="addSp delSp modSp new mod">
        <pc:chgData name="Alexandra Freltoft" userId="f4e5ae2a-d5e9-4d7b-872b-a6f57ea6ca0c" providerId="ADAL" clId="{534E68FC-8D20-4ED5-B5B7-997AB72B58CC}" dt="2021-08-26T12:19:30.887" v="5157"/>
        <pc:sldMkLst>
          <pc:docMk/>
          <pc:sldMk cId="486473251" sldId="345"/>
        </pc:sldMkLst>
        <pc:spChg chg="del">
          <ac:chgData name="Alexandra Freltoft" userId="f4e5ae2a-d5e9-4d7b-872b-a6f57ea6ca0c" providerId="ADAL" clId="{534E68FC-8D20-4ED5-B5B7-997AB72B58CC}" dt="2021-08-26T12:18:30.437" v="5152"/>
          <ac:spMkLst>
            <pc:docMk/>
            <pc:sldMk cId="486473251" sldId="345"/>
            <ac:spMk id="2" creationId="{7C744284-2714-4187-A69F-1AE956C16831}"/>
          </ac:spMkLst>
        </pc:spChg>
        <pc:spChg chg="mod">
          <ac:chgData name="Alexandra Freltoft" userId="f4e5ae2a-d5e9-4d7b-872b-a6f57ea6ca0c" providerId="ADAL" clId="{534E68FC-8D20-4ED5-B5B7-997AB72B58CC}" dt="2021-08-26T12:19:30.887" v="5157"/>
          <ac:spMkLst>
            <pc:docMk/>
            <pc:sldMk cId="486473251" sldId="345"/>
            <ac:spMk id="3" creationId="{C6A116B6-2FCB-4276-9C7E-68AAE8FDCA03}"/>
          </ac:spMkLst>
        </pc:spChg>
        <pc:spChg chg="mod">
          <ac:chgData name="Alexandra Freltoft" userId="f4e5ae2a-d5e9-4d7b-872b-a6f57ea6ca0c" providerId="ADAL" clId="{534E68FC-8D20-4ED5-B5B7-997AB72B58CC}" dt="2021-08-26T12:19:30.887" v="5157"/>
          <ac:spMkLst>
            <pc:docMk/>
            <pc:sldMk cId="486473251" sldId="345"/>
            <ac:spMk id="4" creationId="{1E48E9DF-C705-4080-B645-958A020EDCF3}"/>
          </ac:spMkLst>
        </pc:spChg>
        <pc:spChg chg="add del mod">
          <ac:chgData name="Alexandra Freltoft" userId="f4e5ae2a-d5e9-4d7b-872b-a6f57ea6ca0c" providerId="ADAL" clId="{534E68FC-8D20-4ED5-B5B7-997AB72B58CC}" dt="2021-08-26T12:19:06.207" v="5155"/>
          <ac:spMkLst>
            <pc:docMk/>
            <pc:sldMk cId="486473251" sldId="345"/>
            <ac:spMk id="5" creationId="{92918ABF-BB79-42FA-8E6D-691A90229BEB}"/>
          </ac:spMkLst>
        </pc:spChg>
        <pc:spChg chg="add del mod">
          <ac:chgData name="Alexandra Freltoft" userId="f4e5ae2a-d5e9-4d7b-872b-a6f57ea6ca0c" providerId="ADAL" clId="{534E68FC-8D20-4ED5-B5B7-997AB72B58CC}" dt="2021-08-26T12:19:10.315" v="5156"/>
          <ac:spMkLst>
            <pc:docMk/>
            <pc:sldMk cId="486473251" sldId="345"/>
            <ac:spMk id="6" creationId="{51723692-0BAD-4191-9B4E-80ABE8DEBB7E}"/>
          </ac:spMkLst>
        </pc:spChg>
        <pc:spChg chg="add del mod">
          <ac:chgData name="Alexandra Freltoft" userId="f4e5ae2a-d5e9-4d7b-872b-a6f57ea6ca0c" providerId="ADAL" clId="{534E68FC-8D20-4ED5-B5B7-997AB72B58CC}" dt="2021-08-26T12:19:30.887" v="5157"/>
          <ac:spMkLst>
            <pc:docMk/>
            <pc:sldMk cId="486473251" sldId="345"/>
            <ac:spMk id="7" creationId="{FCAD7E83-1045-4216-B81E-E868DAF4FA7E}"/>
          </ac:spMkLst>
        </pc:spChg>
        <pc:spChg chg="add mod">
          <ac:chgData name="Alexandra Freltoft" userId="f4e5ae2a-d5e9-4d7b-872b-a6f57ea6ca0c" providerId="ADAL" clId="{534E68FC-8D20-4ED5-B5B7-997AB72B58CC}" dt="2021-08-26T12:19:30.887" v="5157"/>
          <ac:spMkLst>
            <pc:docMk/>
            <pc:sldMk cId="486473251" sldId="345"/>
            <ac:spMk id="8" creationId="{522711EB-688F-48BB-AE2E-715B06EB1B6F}"/>
          </ac:spMkLst>
        </pc:spChg>
      </pc:sldChg>
      <pc:sldChg chg="addSp modSp new mod">
        <pc:chgData name="Alexandra Freltoft" userId="f4e5ae2a-d5e9-4d7b-872b-a6f57ea6ca0c" providerId="ADAL" clId="{534E68FC-8D20-4ED5-B5B7-997AB72B58CC}" dt="2021-08-26T13:04:05.734" v="6358" actId="1036"/>
        <pc:sldMkLst>
          <pc:docMk/>
          <pc:sldMk cId="2315837119" sldId="346"/>
        </pc:sldMkLst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2" creationId="{C6ACBD6A-750E-4C02-81A3-18D2E012C416}"/>
          </ac:spMkLst>
        </pc:spChg>
        <pc:spChg chg="mod">
          <ac:chgData name="Alexandra Freltoft" userId="f4e5ae2a-d5e9-4d7b-872b-a6f57ea6ca0c" providerId="ADAL" clId="{534E68FC-8D20-4ED5-B5B7-997AB72B58CC}" dt="2021-08-26T12:16:55.012" v="5114" actId="20577"/>
          <ac:spMkLst>
            <pc:docMk/>
            <pc:sldMk cId="2315837119" sldId="346"/>
            <ac:spMk id="3" creationId="{EBB4DF71-C408-409B-B988-177374B33CBE}"/>
          </ac:spMkLst>
        </pc:spChg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4" creationId="{A3F11507-C087-427A-83AD-B4AF57C64E5C}"/>
          </ac:spMkLst>
        </pc:spChg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5" creationId="{7D894AB0-8354-4F25-9D67-4B23769EF838}"/>
          </ac:spMkLst>
        </pc:spChg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6" creationId="{F95C8B8F-4828-4713-88E2-5F79484D2C9B}"/>
          </ac:spMkLst>
        </pc:spChg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7" creationId="{05599AD8-DA8F-46F4-B7D6-2528D22AA6F7}"/>
          </ac:spMkLst>
        </pc:spChg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8" creationId="{A1D17EDB-8DE0-4327-9370-C57FE471C877}"/>
          </ac:spMkLst>
        </pc:spChg>
        <pc:spChg chg="add 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9" creationId="{C2182366-8F53-4260-B779-C711BA60F66E}"/>
          </ac:spMkLst>
        </pc:spChg>
        <pc:spChg chg="add 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10" creationId="{B8FE2D97-406A-4B87-8136-FD32E2B73226}"/>
          </ac:spMkLst>
        </pc:spChg>
      </pc:sldChg>
      <pc:sldChg chg="new del">
        <pc:chgData name="Alexandra Freltoft" userId="f4e5ae2a-d5e9-4d7b-872b-a6f57ea6ca0c" providerId="ADAL" clId="{534E68FC-8D20-4ED5-B5B7-997AB72B58CC}" dt="2021-08-26T12:56:12.338" v="6066" actId="47"/>
        <pc:sldMkLst>
          <pc:docMk/>
          <pc:sldMk cId="3643876530" sldId="347"/>
        </pc:sldMkLst>
      </pc:sldChg>
      <pc:sldChg chg="modSp new mod">
        <pc:chgData name="Alexandra Freltoft" userId="f4e5ae2a-d5e9-4d7b-872b-a6f57ea6ca0c" providerId="ADAL" clId="{534E68FC-8D20-4ED5-B5B7-997AB72B58CC}" dt="2021-08-26T12:58:09.561" v="6195" actId="20577"/>
        <pc:sldMkLst>
          <pc:docMk/>
          <pc:sldMk cId="3731104051" sldId="348"/>
        </pc:sldMkLst>
        <pc:spChg chg="mod">
          <ac:chgData name="Alexandra Freltoft" userId="f4e5ae2a-d5e9-4d7b-872b-a6f57ea6ca0c" providerId="ADAL" clId="{534E68FC-8D20-4ED5-B5B7-997AB72B58CC}" dt="2021-08-26T12:58:09.561" v="6195" actId="20577"/>
          <ac:spMkLst>
            <pc:docMk/>
            <pc:sldMk cId="3731104051" sldId="348"/>
            <ac:spMk id="2" creationId="{5FC29741-4D20-47E4-82A7-C56E86605C4D}"/>
          </ac:spMkLst>
        </pc:spChg>
        <pc:spChg chg="mod">
          <ac:chgData name="Alexandra Freltoft" userId="f4e5ae2a-d5e9-4d7b-872b-a6f57ea6ca0c" providerId="ADAL" clId="{534E68FC-8D20-4ED5-B5B7-997AB72B58CC}" dt="2021-08-26T12:54:38.887" v="5942" actId="14100"/>
          <ac:spMkLst>
            <pc:docMk/>
            <pc:sldMk cId="3731104051" sldId="348"/>
            <ac:spMk id="3" creationId="{146A2AE5-C854-4B4A-866C-A4B885820B82}"/>
          </ac:spMkLst>
        </pc:spChg>
      </pc:sldChg>
      <pc:sldChg chg="modSp new mod">
        <pc:chgData name="Alexandra Freltoft" userId="f4e5ae2a-d5e9-4d7b-872b-a6f57ea6ca0c" providerId="ADAL" clId="{534E68FC-8D20-4ED5-B5B7-997AB72B58CC}" dt="2021-08-26T13:07:08.377" v="6712" actId="20577"/>
        <pc:sldMkLst>
          <pc:docMk/>
          <pc:sldMk cId="694766735" sldId="349"/>
        </pc:sldMkLst>
        <pc:spChg chg="mod">
          <ac:chgData name="Alexandra Freltoft" userId="f4e5ae2a-d5e9-4d7b-872b-a6f57ea6ca0c" providerId="ADAL" clId="{534E68FC-8D20-4ED5-B5B7-997AB72B58CC}" dt="2021-08-26T13:06:11.014" v="6541" actId="20577"/>
          <ac:spMkLst>
            <pc:docMk/>
            <pc:sldMk cId="694766735" sldId="349"/>
            <ac:spMk id="2" creationId="{5AE9D4FB-59A3-4303-A05C-B2FA4465C5A8}"/>
          </ac:spMkLst>
        </pc:spChg>
        <pc:spChg chg="mod">
          <ac:chgData name="Alexandra Freltoft" userId="f4e5ae2a-d5e9-4d7b-872b-a6f57ea6ca0c" providerId="ADAL" clId="{534E68FC-8D20-4ED5-B5B7-997AB72B58CC}" dt="2021-08-26T13:04:34.809" v="6376" actId="14100"/>
          <ac:spMkLst>
            <pc:docMk/>
            <pc:sldMk cId="694766735" sldId="349"/>
            <ac:spMk id="3" creationId="{238EE16D-F548-450A-9E79-2A9A994D2304}"/>
          </ac:spMkLst>
        </pc:spChg>
        <pc:spChg chg="mod">
          <ac:chgData name="Alexandra Freltoft" userId="f4e5ae2a-d5e9-4d7b-872b-a6f57ea6ca0c" providerId="ADAL" clId="{534E68FC-8D20-4ED5-B5B7-997AB72B58CC}" dt="2021-08-26T13:05:15.942" v="6442" actId="20577"/>
          <ac:spMkLst>
            <pc:docMk/>
            <pc:sldMk cId="694766735" sldId="349"/>
            <ac:spMk id="4" creationId="{6B9F9C62-77E4-49F8-A034-D547E607BE06}"/>
          </ac:spMkLst>
        </pc:spChg>
        <pc:spChg chg="mod">
          <ac:chgData name="Alexandra Freltoft" userId="f4e5ae2a-d5e9-4d7b-872b-a6f57ea6ca0c" providerId="ADAL" clId="{534E68FC-8D20-4ED5-B5B7-997AB72B58CC}" dt="2021-08-26T13:07:08.377" v="6712" actId="20577"/>
          <ac:spMkLst>
            <pc:docMk/>
            <pc:sldMk cId="694766735" sldId="349"/>
            <ac:spMk id="5" creationId="{45963D62-C41D-421D-A5AF-2CB8D14ABA65}"/>
          </ac:spMkLst>
        </pc:spChg>
        <pc:spChg chg="mod">
          <ac:chgData name="Alexandra Freltoft" userId="f4e5ae2a-d5e9-4d7b-872b-a6f57ea6ca0c" providerId="ADAL" clId="{534E68FC-8D20-4ED5-B5B7-997AB72B58CC}" dt="2021-08-26T13:04:28.484" v="6375" actId="1035"/>
          <ac:spMkLst>
            <pc:docMk/>
            <pc:sldMk cId="694766735" sldId="349"/>
            <ac:spMk id="6" creationId="{2B3BE306-F9FA-4C07-97AA-E32426D7A57B}"/>
          </ac:spMkLst>
        </pc:spChg>
        <pc:spChg chg="mod">
          <ac:chgData name="Alexandra Freltoft" userId="f4e5ae2a-d5e9-4d7b-872b-a6f57ea6ca0c" providerId="ADAL" clId="{534E68FC-8D20-4ED5-B5B7-997AB72B58CC}" dt="2021-08-26T13:04:28.484" v="6375" actId="1035"/>
          <ac:spMkLst>
            <pc:docMk/>
            <pc:sldMk cId="694766735" sldId="349"/>
            <ac:spMk id="7" creationId="{73895FD0-FEBD-4AEE-A831-E37995396527}"/>
          </ac:spMkLst>
        </pc:spChg>
        <pc:spChg chg="mod">
          <ac:chgData name="Alexandra Freltoft" userId="f4e5ae2a-d5e9-4d7b-872b-a6f57ea6ca0c" providerId="ADAL" clId="{534E68FC-8D20-4ED5-B5B7-997AB72B58CC}" dt="2021-08-26T13:04:28.484" v="6375" actId="1035"/>
          <ac:spMkLst>
            <pc:docMk/>
            <pc:sldMk cId="694766735" sldId="349"/>
            <ac:spMk id="8" creationId="{EA02BC46-AAFA-4504-A059-CC68B5FA6040}"/>
          </ac:spMkLst>
        </pc:spChg>
      </pc:sldChg>
      <pc:sldChg chg="delSp modSp new mod">
        <pc:chgData name="Alexandra Freltoft" userId="f4e5ae2a-d5e9-4d7b-872b-a6f57ea6ca0c" providerId="ADAL" clId="{534E68FC-8D20-4ED5-B5B7-997AB72B58CC}" dt="2021-08-30T07:57:37.276" v="7842" actId="478"/>
        <pc:sldMkLst>
          <pc:docMk/>
          <pc:sldMk cId="2860220639" sldId="350"/>
        </pc:sldMkLst>
        <pc:spChg chg="mod">
          <ac:chgData name="Alexandra Freltoft" userId="f4e5ae2a-d5e9-4d7b-872b-a6f57ea6ca0c" providerId="ADAL" clId="{534E68FC-8D20-4ED5-B5B7-997AB72B58CC}" dt="2021-08-26T14:03:26.435" v="7790" actId="14100"/>
          <ac:spMkLst>
            <pc:docMk/>
            <pc:sldMk cId="2860220639" sldId="350"/>
            <ac:spMk id="2" creationId="{2297020D-E131-4181-90D8-2C7C5C05940D}"/>
          </ac:spMkLst>
        </pc:spChg>
        <pc:spChg chg="del mod">
          <ac:chgData name="Alexandra Freltoft" userId="f4e5ae2a-d5e9-4d7b-872b-a6f57ea6ca0c" providerId="ADAL" clId="{534E68FC-8D20-4ED5-B5B7-997AB72B58CC}" dt="2021-08-30T07:57:37.276" v="7842" actId="478"/>
          <ac:spMkLst>
            <pc:docMk/>
            <pc:sldMk cId="2860220639" sldId="350"/>
            <ac:spMk id="3" creationId="{7FB3AB1D-3A34-4A57-843E-A00476C2C75D}"/>
          </ac:spMkLst>
        </pc:spChg>
        <pc:spChg chg="del mod">
          <ac:chgData name="Alexandra Freltoft" userId="f4e5ae2a-d5e9-4d7b-872b-a6f57ea6ca0c" providerId="ADAL" clId="{534E68FC-8D20-4ED5-B5B7-997AB72B58CC}" dt="2021-08-26T14:03:34.831" v="7792" actId="478"/>
          <ac:spMkLst>
            <pc:docMk/>
            <pc:sldMk cId="2860220639" sldId="350"/>
            <ac:spMk id="4" creationId="{B2456DA9-5DEA-454C-815F-C6277AAC0D8E}"/>
          </ac:spMkLst>
        </pc:spChg>
        <pc:spChg chg="mod">
          <ac:chgData name="Alexandra Freltoft" userId="f4e5ae2a-d5e9-4d7b-872b-a6f57ea6ca0c" providerId="ADAL" clId="{534E68FC-8D20-4ED5-B5B7-997AB72B58CC}" dt="2021-08-26T14:03:52.670" v="7817" actId="20577"/>
          <ac:spMkLst>
            <pc:docMk/>
            <pc:sldMk cId="2860220639" sldId="350"/>
            <ac:spMk id="5" creationId="{437E0748-5F16-4844-8D58-058707F39266}"/>
          </ac:spMkLst>
        </pc:spChg>
        <pc:spChg chg="del mod">
          <ac:chgData name="Alexandra Freltoft" userId="f4e5ae2a-d5e9-4d7b-872b-a6f57ea6ca0c" providerId="ADAL" clId="{534E68FC-8D20-4ED5-B5B7-997AB72B58CC}" dt="2021-08-26T14:03:22.484" v="7789"/>
          <ac:spMkLst>
            <pc:docMk/>
            <pc:sldMk cId="2860220639" sldId="350"/>
            <ac:spMk id="6" creationId="{9C6E7A73-781C-4E26-9DF8-CC6F5B12F297}"/>
          </ac:spMkLst>
        </pc:spChg>
      </pc:sldChg>
      <pc:sldChg chg="addSp delSp modSp add mod ord">
        <pc:chgData name="Alexandra Freltoft" userId="f4e5ae2a-d5e9-4d7b-872b-a6f57ea6ca0c" providerId="ADAL" clId="{534E68FC-8D20-4ED5-B5B7-997AB72B58CC}" dt="2021-09-13T18:27:58.397" v="14010" actId="207"/>
        <pc:sldMkLst>
          <pc:docMk/>
          <pc:sldMk cId="236410703" sldId="351"/>
        </pc:sldMkLst>
        <pc:spChg chg="add del mod">
          <ac:chgData name="Alexandra Freltoft" userId="f4e5ae2a-d5e9-4d7b-872b-a6f57ea6ca0c" providerId="ADAL" clId="{534E68FC-8D20-4ED5-B5B7-997AB72B58CC}" dt="2021-08-26T13:56:31.152" v="7553" actId="478"/>
          <ac:spMkLst>
            <pc:docMk/>
            <pc:sldMk cId="236410703" sldId="351"/>
            <ac:spMk id="2" creationId="{30A6973F-E90A-46C2-B67E-896D02687482}"/>
          </ac:spMkLst>
        </pc:spChg>
        <pc:spChg chg="mod">
          <ac:chgData name="Alexandra Freltoft" userId="f4e5ae2a-d5e9-4d7b-872b-a6f57ea6ca0c" providerId="ADAL" clId="{534E68FC-8D20-4ED5-B5B7-997AB72B58CC}" dt="2021-09-13T18:27:58.397" v="14010" actId="207"/>
          <ac:spMkLst>
            <pc:docMk/>
            <pc:sldMk cId="236410703" sldId="351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26T13:56:35.732" v="7554" actId="14100"/>
          <ac:spMkLst>
            <pc:docMk/>
            <pc:sldMk cId="236410703" sldId="351"/>
            <ac:spMk id="4" creationId="{D0D13345-F0D4-4CFC-820B-EC56DE8714C2}"/>
          </ac:spMkLst>
        </pc:spChg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610808233" sldId="351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610808233" sldId="351"/>
            <ac:spMk id="2" creationId="{59E5960E-4685-48A8-A3D5-D94372EB3DF6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610808233" sldId="351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610808233" sldId="351"/>
            <ac:spMk id="4" creationId="{D0D13345-F0D4-4CFC-820B-EC56DE8714C2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1630429395" sldId="351"/>
        </pc:sldMkLst>
      </pc:sldChg>
      <pc:sldChg chg="add del">
        <pc:chgData name="Alexandra Freltoft" userId="f4e5ae2a-d5e9-4d7b-872b-a6f57ea6ca0c" providerId="ADAL" clId="{534E68FC-8D20-4ED5-B5B7-997AB72B58CC}" dt="2021-08-26T13:20:31.091" v="6725"/>
        <pc:sldMkLst>
          <pc:docMk/>
          <pc:sldMk cId="2319409355" sldId="351"/>
        </pc:sldMkLst>
      </pc:sldChg>
      <pc:sldChg chg="add del">
        <pc:chgData name="Alexandra Freltoft" userId="f4e5ae2a-d5e9-4d7b-872b-a6f57ea6ca0c" providerId="ADAL" clId="{534E68FC-8D20-4ED5-B5B7-997AB72B58CC}" dt="2021-08-26T13:20:30.557" v="6724"/>
        <pc:sldMkLst>
          <pc:docMk/>
          <pc:sldMk cId="1126134271" sldId="352"/>
        </pc:sldMkLst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1436771048" sldId="352"/>
        </pc:sldMkLst>
      </pc:sldChg>
      <pc:sldChg chg="addSp delSp modSp add mod ord">
        <pc:chgData name="Alexandra Freltoft" userId="f4e5ae2a-d5e9-4d7b-872b-a6f57ea6ca0c" providerId="ADAL" clId="{534E68FC-8D20-4ED5-B5B7-997AB72B58CC}" dt="2021-08-30T09:30:54.837" v="8548" actId="20577"/>
        <pc:sldMkLst>
          <pc:docMk/>
          <pc:sldMk cId="2961358646" sldId="352"/>
        </pc:sldMkLst>
        <pc:spChg chg="add del">
          <ac:chgData name="Alexandra Freltoft" userId="f4e5ae2a-d5e9-4d7b-872b-a6f57ea6ca0c" providerId="ADAL" clId="{534E68FC-8D20-4ED5-B5B7-997AB72B58CC}" dt="2021-08-26T13:57:21.957" v="7563" actId="22"/>
          <ac:spMkLst>
            <pc:docMk/>
            <pc:sldMk cId="2961358646" sldId="352"/>
            <ac:spMk id="8" creationId="{6213A2A9-0721-4BDE-A9A1-D9CB7030DBCA}"/>
          </ac:spMkLst>
        </pc:spChg>
        <pc:spChg chg="del">
          <ac:chgData name="Alexandra Freltoft" userId="f4e5ae2a-d5e9-4d7b-872b-a6f57ea6ca0c" providerId="ADAL" clId="{534E68FC-8D20-4ED5-B5B7-997AB72B58CC}" dt="2021-08-26T13:57:19.501" v="7561" actId="478"/>
          <ac:spMkLst>
            <pc:docMk/>
            <pc:sldMk cId="2961358646" sldId="352"/>
            <ac:spMk id="9" creationId="{32BFB4EB-F0E1-4334-A1BF-78FC91E71193}"/>
          </ac:spMkLst>
        </pc:spChg>
        <pc:spChg chg="add mod">
          <ac:chgData name="Alexandra Freltoft" userId="f4e5ae2a-d5e9-4d7b-872b-a6f57ea6ca0c" providerId="ADAL" clId="{534E68FC-8D20-4ED5-B5B7-997AB72B58CC}" dt="2021-08-30T09:30:54.837" v="8548" actId="20577"/>
          <ac:spMkLst>
            <pc:docMk/>
            <pc:sldMk cId="2961358646" sldId="352"/>
            <ac:spMk id="12" creationId="{52FE800A-8A50-408C-A056-4CB40DE2A388}"/>
          </ac:spMkLst>
        </pc:spChg>
        <pc:spChg chg="mod">
          <ac:chgData name="Alexandra Freltoft" userId="f4e5ae2a-d5e9-4d7b-872b-a6f57ea6ca0c" providerId="ADAL" clId="{534E68FC-8D20-4ED5-B5B7-997AB72B58CC}" dt="2021-08-30T07:44:28.845" v="7841" actId="20577"/>
          <ac:spMkLst>
            <pc:docMk/>
            <pc:sldMk cId="2961358646" sldId="352"/>
            <ac:spMk id="16" creationId="{14D7E3B9-2194-45BF-A4E7-E8CDB371E5B2}"/>
          </ac:spMkLst>
        </pc:spChg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4161573304" sldId="352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161573304" sldId="352"/>
            <ac:spMk id="2" creationId="{C250496F-938D-44B4-A471-AE45D2C2BEFB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161573304" sldId="352"/>
            <ac:spMk id="3" creationId="{ED86301B-7EC4-4617-835B-A1B512FC3280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161573304" sldId="352"/>
            <ac:spMk id="4" creationId="{6A6BFC0F-9921-4221-8AD1-95464C56C5F0}"/>
          </ac:spMkLst>
        </pc:spChg>
      </pc:sldChg>
      <pc:sldChg chg="modSp add mod ord">
        <pc:chgData name="Alexandra Freltoft" userId="f4e5ae2a-d5e9-4d7b-872b-a6f57ea6ca0c" providerId="ADAL" clId="{534E68FC-8D20-4ED5-B5B7-997AB72B58CC}" dt="2021-08-30T12:06:22.512" v="13232" actId="1076"/>
        <pc:sldMkLst>
          <pc:docMk/>
          <pc:sldMk cId="2608328208" sldId="353"/>
        </pc:sldMkLst>
        <pc:spChg chg="mod">
          <ac:chgData name="Alexandra Freltoft" userId="f4e5ae2a-d5e9-4d7b-872b-a6f57ea6ca0c" providerId="ADAL" clId="{534E68FC-8D20-4ED5-B5B7-997AB72B58CC}" dt="2021-08-30T09:46:00.421" v="9258" actId="20577"/>
          <ac:spMkLst>
            <pc:docMk/>
            <pc:sldMk cId="2608328208" sldId="353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30T12:06:22.512" v="13232" actId="1076"/>
          <ac:spMkLst>
            <pc:docMk/>
            <pc:sldMk cId="2608328208" sldId="353"/>
            <ac:spMk id="7" creationId="{BF9AD248-8D74-4E18-816A-248F07EBE9C6}"/>
          </ac:spMkLst>
        </pc:spChg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3961183557" sldId="353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961183557" sldId="353"/>
            <ac:spMk id="2" creationId="{C04D1E86-906B-4E4E-80A6-C96BA2F562F3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3961183557" sldId="353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961183557" sldId="353"/>
            <ac:spMk id="4" creationId="{6AFA9077-86E8-41A6-978C-5218C301682B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3966471349" sldId="353"/>
        </pc:sldMkLst>
      </pc:sldChg>
      <pc:sldChg chg="addSp delSp modSp add mod ord">
        <pc:chgData name="Alexandra Freltoft" userId="f4e5ae2a-d5e9-4d7b-872b-a6f57ea6ca0c" providerId="ADAL" clId="{534E68FC-8D20-4ED5-B5B7-997AB72B58CC}" dt="2021-08-30T10:02:18.893" v="10022" actId="20577"/>
        <pc:sldMkLst>
          <pc:docMk/>
          <pc:sldMk cId="1063387655" sldId="354"/>
        </pc:sldMkLst>
        <pc:spChg chg="del">
          <ac:chgData name="Alexandra Freltoft" userId="f4e5ae2a-d5e9-4d7b-872b-a6f57ea6ca0c" providerId="ADAL" clId="{534E68FC-8D20-4ED5-B5B7-997AB72B58CC}" dt="2021-08-26T14:00:44.498" v="7669" actId="478"/>
          <ac:spMkLst>
            <pc:docMk/>
            <pc:sldMk cId="1063387655" sldId="354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4:00:51.835" v="7672" actId="478"/>
          <ac:spMkLst>
            <pc:docMk/>
            <pc:sldMk cId="1063387655" sldId="354"/>
            <ac:spMk id="4" creationId="{6431AE8F-ADFF-4D6D-99AA-42308E63914B}"/>
          </ac:spMkLst>
        </pc:spChg>
        <pc:spChg chg="add del mod">
          <ac:chgData name="Alexandra Freltoft" userId="f4e5ae2a-d5e9-4d7b-872b-a6f57ea6ca0c" providerId="ADAL" clId="{534E68FC-8D20-4ED5-B5B7-997AB72B58CC}" dt="2021-08-26T14:00:49.663" v="7671" actId="478"/>
          <ac:spMkLst>
            <pc:docMk/>
            <pc:sldMk cId="1063387655" sldId="354"/>
            <ac:spMk id="8" creationId="{1669ABB2-DF49-43C6-8FAE-1F30537521CC}"/>
          </ac:spMkLst>
        </pc:spChg>
        <pc:spChg chg="add mod">
          <ac:chgData name="Alexandra Freltoft" userId="f4e5ae2a-d5e9-4d7b-872b-a6f57ea6ca0c" providerId="ADAL" clId="{534E68FC-8D20-4ED5-B5B7-997AB72B58CC}" dt="2021-08-30T10:02:18.893" v="10022" actId="20577"/>
          <ac:spMkLst>
            <pc:docMk/>
            <pc:sldMk cId="1063387655" sldId="354"/>
            <ac:spMk id="9" creationId="{6CDBFFEE-1A1D-497A-BE98-6E0A0FF4BA4D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2974646073" sldId="354"/>
        </pc:sldMkLst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4201305168" sldId="354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201305168" sldId="354"/>
            <ac:spMk id="2" creationId="{109DA5CD-74E0-4DCF-A138-0A36AD24A812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4201305168" sldId="354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201305168" sldId="354"/>
            <ac:spMk id="4" creationId="{7305E36C-B7ED-4D80-9B38-A49BB5D4E520}"/>
          </ac:spMkLst>
        </pc:spChg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740143258" sldId="355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740143258" sldId="355"/>
            <ac:spMk id="2" creationId="{D03A7558-BE01-4706-9B53-78DC9346890D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740143258" sldId="355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740143258" sldId="355"/>
            <ac:spMk id="5" creationId="{61E6CDBC-ECB2-471F-9DC7-FB46785B3E13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2684583537" sldId="355"/>
        </pc:sldMkLst>
      </pc:sldChg>
      <pc:sldChg chg="addSp delSp modSp add mod ord">
        <pc:chgData name="Alexandra Freltoft" userId="f4e5ae2a-d5e9-4d7b-872b-a6f57ea6ca0c" providerId="ADAL" clId="{534E68FC-8D20-4ED5-B5B7-997AB72B58CC}" dt="2021-08-30T10:21:51.692" v="11133" actId="20577"/>
        <pc:sldMkLst>
          <pc:docMk/>
          <pc:sldMk cId="3725529036" sldId="355"/>
        </pc:sldMkLst>
        <pc:spChg chg="del">
          <ac:chgData name="Alexandra Freltoft" userId="f4e5ae2a-d5e9-4d7b-872b-a6f57ea6ca0c" providerId="ADAL" clId="{534E68FC-8D20-4ED5-B5B7-997AB72B58CC}" dt="2021-08-26T14:00:56.836" v="7674" actId="478"/>
          <ac:spMkLst>
            <pc:docMk/>
            <pc:sldMk cId="3725529036" sldId="355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4:01:02.008" v="7677" actId="478"/>
          <ac:spMkLst>
            <pc:docMk/>
            <pc:sldMk cId="3725529036" sldId="355"/>
            <ac:spMk id="5" creationId="{01344AA4-1C74-4506-BF0F-FE487A06E65F}"/>
          </ac:spMkLst>
        </pc:spChg>
        <pc:spChg chg="add del mod">
          <ac:chgData name="Alexandra Freltoft" userId="f4e5ae2a-d5e9-4d7b-872b-a6f57ea6ca0c" providerId="ADAL" clId="{534E68FC-8D20-4ED5-B5B7-997AB72B58CC}" dt="2021-08-26T14:00:59.821" v="7676"/>
          <ac:spMkLst>
            <pc:docMk/>
            <pc:sldMk cId="3725529036" sldId="355"/>
            <ac:spMk id="8" creationId="{5B7B3DED-5FC0-4AC6-A78E-790B0A7C8402}"/>
          </ac:spMkLst>
        </pc:spChg>
        <pc:spChg chg="add mod">
          <ac:chgData name="Alexandra Freltoft" userId="f4e5ae2a-d5e9-4d7b-872b-a6f57ea6ca0c" providerId="ADAL" clId="{534E68FC-8D20-4ED5-B5B7-997AB72B58CC}" dt="2021-08-30T10:21:51.692" v="11133" actId="20577"/>
          <ac:spMkLst>
            <pc:docMk/>
            <pc:sldMk cId="3725529036" sldId="355"/>
            <ac:spMk id="9" creationId="{616BD0CD-A8A9-401C-B695-91DC43CF3546}"/>
          </ac:spMkLst>
        </pc:spChg>
      </pc:sldChg>
      <pc:sldChg chg="addSp delSp modSp add mod ord">
        <pc:chgData name="Alexandra Freltoft" userId="f4e5ae2a-d5e9-4d7b-872b-a6f57ea6ca0c" providerId="ADAL" clId="{534E68FC-8D20-4ED5-B5B7-997AB72B58CC}" dt="2021-08-30T11:40:03.758" v="12462" actId="20577"/>
        <pc:sldMkLst>
          <pc:docMk/>
          <pc:sldMk cId="1197241573" sldId="356"/>
        </pc:sldMkLst>
        <pc:spChg chg="add mod">
          <ac:chgData name="Alexandra Freltoft" userId="f4e5ae2a-d5e9-4d7b-872b-a6f57ea6ca0c" providerId="ADAL" clId="{534E68FC-8D20-4ED5-B5B7-997AB72B58CC}" dt="2021-08-30T11:40:03.758" v="12462" actId="20577"/>
          <ac:spMkLst>
            <pc:docMk/>
            <pc:sldMk cId="1197241573" sldId="356"/>
            <ac:spMk id="8" creationId="{1CE8A86E-AC3A-4C32-B298-82F4E5721A58}"/>
          </ac:spMkLst>
        </pc:spChg>
        <pc:spChg chg="del">
          <ac:chgData name="Alexandra Freltoft" userId="f4e5ae2a-d5e9-4d7b-872b-a6f57ea6ca0c" providerId="ADAL" clId="{534E68FC-8D20-4ED5-B5B7-997AB72B58CC}" dt="2021-08-26T14:01:07.221" v="7679" actId="478"/>
          <ac:spMkLst>
            <pc:docMk/>
            <pc:sldMk cId="1197241573" sldId="356"/>
            <ac:spMk id="10" creationId="{11178A42-BA4F-40ED-A28B-5E819ACFF038}"/>
          </ac:spMkLst>
        </pc:spChg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3389614458" sldId="356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389614458" sldId="356"/>
            <ac:spMk id="3" creationId="{92CC8C45-B547-4DE8-8D3D-54C17E550343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389614458" sldId="356"/>
            <ac:spMk id="4" creationId="{D1E4A503-5EAD-49A2-B656-1AE2757E46FC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389614458" sldId="356"/>
            <ac:spMk id="5" creationId="{49DDA7F8-5A09-43A4-8197-56BD745F0A6D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3545067860" sldId="356"/>
        </pc:sldMkLst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457942075" sldId="357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57942075" sldId="357"/>
            <ac:spMk id="2" creationId="{3265BA32-A781-4E83-8C47-6AEF261DE1D4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57942075" sldId="357"/>
            <ac:spMk id="3" creationId="{E814AD30-213C-4C7F-AFD1-16844638B1B9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457942075" sldId="357"/>
            <ac:spMk id="12" creationId="{7E37F1A2-BEDE-4F9B-A971-B50934307532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486081209" sldId="357"/>
        </pc:sldMkLst>
      </pc:sldChg>
      <pc:sldChg chg="addSp delSp modSp add mod ord">
        <pc:chgData name="Alexandra Freltoft" userId="f4e5ae2a-d5e9-4d7b-872b-a6f57ea6ca0c" providerId="ADAL" clId="{534E68FC-8D20-4ED5-B5B7-997AB72B58CC}" dt="2021-08-30T11:40:47.743" v="12490" actId="20577"/>
        <pc:sldMkLst>
          <pc:docMk/>
          <pc:sldMk cId="1017198881" sldId="357"/>
        </pc:sldMkLst>
        <pc:spChg chg="add del mod">
          <ac:chgData name="Alexandra Freltoft" userId="f4e5ae2a-d5e9-4d7b-872b-a6f57ea6ca0c" providerId="ADAL" clId="{534E68FC-8D20-4ED5-B5B7-997AB72B58CC}" dt="2021-08-26T14:01:16.789" v="7682" actId="478"/>
          <ac:spMkLst>
            <pc:docMk/>
            <pc:sldMk cId="1017198881" sldId="357"/>
            <ac:spMk id="3" creationId="{3F25D909-30D6-4292-9998-C3FAD435FF59}"/>
          </ac:spMkLst>
        </pc:spChg>
        <pc:spChg chg="add mod">
          <ac:chgData name="Alexandra Freltoft" userId="f4e5ae2a-d5e9-4d7b-872b-a6f57ea6ca0c" providerId="ADAL" clId="{534E68FC-8D20-4ED5-B5B7-997AB72B58CC}" dt="2021-08-30T11:40:47.743" v="12490" actId="20577"/>
          <ac:spMkLst>
            <pc:docMk/>
            <pc:sldMk cId="1017198881" sldId="357"/>
            <ac:spMk id="7" creationId="{CA1AABB2-1301-4750-B3A9-17323339660F}"/>
          </ac:spMkLst>
        </pc:spChg>
        <pc:spChg chg="del">
          <ac:chgData name="Alexandra Freltoft" userId="f4e5ae2a-d5e9-4d7b-872b-a6f57ea6ca0c" providerId="ADAL" clId="{534E68FC-8D20-4ED5-B5B7-997AB72B58CC}" dt="2021-08-26T14:01:13.934" v="7681" actId="478"/>
          <ac:spMkLst>
            <pc:docMk/>
            <pc:sldMk cId="1017198881" sldId="357"/>
            <ac:spMk id="12" creationId="{7E37F1A2-BEDE-4F9B-A971-B50934307532}"/>
          </ac:spMkLst>
        </pc:spChg>
      </pc:sldChg>
      <pc:sldChg chg="addSp delSp modSp add mod ord">
        <pc:chgData name="Alexandra Freltoft" userId="f4e5ae2a-d5e9-4d7b-872b-a6f57ea6ca0c" providerId="ADAL" clId="{534E68FC-8D20-4ED5-B5B7-997AB72B58CC}" dt="2021-08-30T12:19:52.600" v="13700" actId="20577"/>
        <pc:sldMkLst>
          <pc:docMk/>
          <pc:sldMk cId="28646055" sldId="358"/>
        </pc:sldMkLst>
        <pc:spChg chg="del">
          <ac:chgData name="Alexandra Freltoft" userId="f4e5ae2a-d5e9-4d7b-872b-a6f57ea6ca0c" providerId="ADAL" clId="{534E68FC-8D20-4ED5-B5B7-997AB72B58CC}" dt="2021-08-26T14:01:22.578" v="7684" actId="478"/>
          <ac:spMkLst>
            <pc:docMk/>
            <pc:sldMk cId="28646055" sldId="358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4:01:26.693" v="7687" actId="478"/>
          <ac:spMkLst>
            <pc:docMk/>
            <pc:sldMk cId="28646055" sldId="358"/>
            <ac:spMk id="4" creationId="{0801A5B3-6F36-4773-835A-A973954035CA}"/>
          </ac:spMkLst>
        </pc:spChg>
        <pc:spChg chg="add del mod">
          <ac:chgData name="Alexandra Freltoft" userId="f4e5ae2a-d5e9-4d7b-872b-a6f57ea6ca0c" providerId="ADAL" clId="{534E68FC-8D20-4ED5-B5B7-997AB72B58CC}" dt="2021-08-26T14:01:24.688" v="7686"/>
          <ac:spMkLst>
            <pc:docMk/>
            <pc:sldMk cId="28646055" sldId="358"/>
            <ac:spMk id="9" creationId="{8B1D1759-095A-4E4C-972C-172AC0111911}"/>
          </ac:spMkLst>
        </pc:spChg>
        <pc:spChg chg="add mod">
          <ac:chgData name="Alexandra Freltoft" userId="f4e5ae2a-d5e9-4d7b-872b-a6f57ea6ca0c" providerId="ADAL" clId="{534E68FC-8D20-4ED5-B5B7-997AB72B58CC}" dt="2021-08-30T12:19:52.600" v="13700" actId="20577"/>
          <ac:spMkLst>
            <pc:docMk/>
            <pc:sldMk cId="28646055" sldId="358"/>
            <ac:spMk id="10" creationId="{26A2FBB3-39EA-4714-9762-BDDBD6E65FF6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361568294" sldId="358"/>
        </pc:sldMkLst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3770359608" sldId="358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770359608" sldId="358"/>
            <ac:spMk id="2" creationId="{E79B16D8-4FAD-4080-8475-C6C9F54E3FE9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3770359608" sldId="358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770359608" sldId="358"/>
            <ac:spMk id="4" creationId="{BA3D000F-B607-4C7D-9DDD-9B787EB7C4DC}"/>
          </ac:spMkLst>
        </pc:spChg>
      </pc:sldChg>
      <pc:sldChg chg="modSp mod">
        <pc:chgData name="Alexandra Freltoft" userId="f4e5ae2a-d5e9-4d7b-872b-a6f57ea6ca0c" providerId="ADAL" clId="{534E68FC-8D20-4ED5-B5B7-997AB72B58CC}" dt="2021-08-30T12:07:56.868" v="13234" actId="2711"/>
        <pc:sldMkLst>
          <pc:docMk/>
          <pc:sldMk cId="2739622405" sldId="365"/>
        </pc:sldMkLst>
        <pc:spChg chg="mod">
          <ac:chgData name="Alexandra Freltoft" userId="f4e5ae2a-d5e9-4d7b-872b-a6f57ea6ca0c" providerId="ADAL" clId="{534E68FC-8D20-4ED5-B5B7-997AB72B58CC}" dt="2021-08-30T12:07:56.868" v="13234" actId="2711"/>
          <ac:spMkLst>
            <pc:docMk/>
            <pc:sldMk cId="2739622405" sldId="365"/>
            <ac:spMk id="4" creationId="{92E99002-02D8-43F5-BB8E-C16F49DF94C6}"/>
          </ac:spMkLst>
        </pc:spChg>
      </pc:sldChg>
      <pc:sldChg chg="addSp delSp modSp new mod modClrScheme chgLayout">
        <pc:chgData name="Alexandra Freltoft" userId="f4e5ae2a-d5e9-4d7b-872b-a6f57ea6ca0c" providerId="ADAL" clId="{534E68FC-8D20-4ED5-B5B7-997AB72B58CC}" dt="2021-08-30T12:29:24.566" v="13924" actId="20577"/>
        <pc:sldMkLst>
          <pc:docMk/>
          <pc:sldMk cId="2455752965" sldId="371"/>
        </pc:sldMkLst>
        <pc:spChg chg="del mod ord">
          <ac:chgData name="Alexandra Freltoft" userId="f4e5ae2a-d5e9-4d7b-872b-a6f57ea6ca0c" providerId="ADAL" clId="{534E68FC-8D20-4ED5-B5B7-997AB72B58CC}" dt="2021-08-30T12:25:21.395" v="13702" actId="700"/>
          <ac:spMkLst>
            <pc:docMk/>
            <pc:sldMk cId="2455752965" sldId="371"/>
            <ac:spMk id="2" creationId="{58D8E640-D2FF-44A2-9348-F1EA79ACB896}"/>
          </ac:spMkLst>
        </pc:spChg>
        <pc:spChg chg="del mod ord">
          <ac:chgData name="Alexandra Freltoft" userId="f4e5ae2a-d5e9-4d7b-872b-a6f57ea6ca0c" providerId="ADAL" clId="{534E68FC-8D20-4ED5-B5B7-997AB72B58CC}" dt="2021-08-30T12:25:21.395" v="13702" actId="700"/>
          <ac:spMkLst>
            <pc:docMk/>
            <pc:sldMk cId="2455752965" sldId="371"/>
            <ac:spMk id="3" creationId="{F2F34AE3-9362-4F1C-B8B1-949BB07D4282}"/>
          </ac:spMkLst>
        </pc:spChg>
        <pc:spChg chg="del mod ord">
          <ac:chgData name="Alexandra Freltoft" userId="f4e5ae2a-d5e9-4d7b-872b-a6f57ea6ca0c" providerId="ADAL" clId="{534E68FC-8D20-4ED5-B5B7-997AB72B58CC}" dt="2021-08-30T12:25:21.395" v="13702" actId="700"/>
          <ac:spMkLst>
            <pc:docMk/>
            <pc:sldMk cId="2455752965" sldId="371"/>
            <ac:spMk id="4" creationId="{B274DB97-DF69-4EE2-A7D3-6498CECF9239}"/>
          </ac:spMkLst>
        </pc:spChg>
        <pc:spChg chg="add del mod ord">
          <ac:chgData name="Alexandra Freltoft" userId="f4e5ae2a-d5e9-4d7b-872b-a6f57ea6ca0c" providerId="ADAL" clId="{534E68FC-8D20-4ED5-B5B7-997AB72B58CC}" dt="2021-08-30T12:26:31.797" v="13703" actId="478"/>
          <ac:spMkLst>
            <pc:docMk/>
            <pc:sldMk cId="2455752965" sldId="371"/>
            <ac:spMk id="5" creationId="{A4D8430C-1A35-456F-8F42-89F6ECB7C0E8}"/>
          </ac:spMkLst>
        </pc:spChg>
        <pc:spChg chg="add mod ord">
          <ac:chgData name="Alexandra Freltoft" userId="f4e5ae2a-d5e9-4d7b-872b-a6f57ea6ca0c" providerId="ADAL" clId="{534E68FC-8D20-4ED5-B5B7-997AB72B58CC}" dt="2021-08-30T12:29:24.566" v="13924" actId="20577"/>
          <ac:spMkLst>
            <pc:docMk/>
            <pc:sldMk cId="2455752965" sldId="371"/>
            <ac:spMk id="6" creationId="{FAC3CB03-1836-4A44-9D49-F54BF24C36BB}"/>
          </ac:spMkLst>
        </pc:spChg>
        <pc:spChg chg="add mod ord">
          <ac:chgData name="Alexandra Freltoft" userId="f4e5ae2a-d5e9-4d7b-872b-a6f57ea6ca0c" providerId="ADAL" clId="{534E68FC-8D20-4ED5-B5B7-997AB72B58CC}" dt="2021-08-30T12:25:21.395" v="13702" actId="700"/>
          <ac:spMkLst>
            <pc:docMk/>
            <pc:sldMk cId="2455752965" sldId="371"/>
            <ac:spMk id="7" creationId="{54790BCA-57E9-40E2-BFBD-FBE9C4D53871}"/>
          </ac:spMkLst>
        </pc:spChg>
        <pc:spChg chg="add mod">
          <ac:chgData name="Alexandra Freltoft" userId="f4e5ae2a-d5e9-4d7b-872b-a6f57ea6ca0c" providerId="ADAL" clId="{534E68FC-8D20-4ED5-B5B7-997AB72B58CC}" dt="2021-08-30T12:26:42.444" v="13731" actId="20577"/>
          <ac:spMkLst>
            <pc:docMk/>
            <pc:sldMk cId="2455752965" sldId="371"/>
            <ac:spMk id="8" creationId="{87320E8A-26CE-41C4-960B-4C8DFC82C999}"/>
          </ac:spMkLst>
        </pc:spChg>
      </pc:sldChg>
      <pc:sldMasterChg chg="modSldLayout">
        <pc:chgData name="Alexandra Freltoft" userId="f4e5ae2a-d5e9-4d7b-872b-a6f57ea6ca0c" providerId="ADAL" clId="{534E68FC-8D20-4ED5-B5B7-997AB72B58CC}" dt="2021-08-26T11:49:52.802" v="3915" actId="1076"/>
        <pc:sldMasterMkLst>
          <pc:docMk/>
          <pc:sldMasterMk cId="233428526" sldId="2147483672"/>
        </pc:sldMasterMkLst>
        <pc:sldLayoutChg chg="modSp mod">
          <pc:chgData name="Alexandra Freltoft" userId="f4e5ae2a-d5e9-4d7b-872b-a6f57ea6ca0c" providerId="ADAL" clId="{534E68FC-8D20-4ED5-B5B7-997AB72B58CC}" dt="2021-08-26T11:49:52.802" v="3915" actId="1076"/>
          <pc:sldLayoutMkLst>
            <pc:docMk/>
            <pc:sldMasterMk cId="233428526" sldId="2147483672"/>
            <pc:sldLayoutMk cId="3824227635" sldId="2147483707"/>
          </pc:sldLayoutMkLst>
          <pc:spChg chg="mod">
            <ac:chgData name="Alexandra Freltoft" userId="f4e5ae2a-d5e9-4d7b-872b-a6f57ea6ca0c" providerId="ADAL" clId="{534E68FC-8D20-4ED5-B5B7-997AB72B58CC}" dt="2021-08-26T11:49:52.802" v="3915" actId="1076"/>
            <ac:spMkLst>
              <pc:docMk/>
              <pc:sldMasterMk cId="233428526" sldId="2147483672"/>
              <pc:sldLayoutMk cId="3824227635" sldId="2147483707"/>
              <ac:spMk id="7" creationId="{51CB9EB0-2062-45BE-8D90-7BA3BA8BFD94}"/>
            </ac:spMkLst>
          </pc:spChg>
        </pc:sldLayoutChg>
      </pc:sldMasterChg>
      <pc:sldMasterChg chg="delSp modSp mod modSldLayout sldLayoutOrd">
        <pc:chgData name="Alexandra Freltoft" userId="f4e5ae2a-d5e9-4d7b-872b-a6f57ea6ca0c" providerId="ADAL" clId="{534E68FC-8D20-4ED5-B5B7-997AB72B58CC}" dt="2021-08-26T13:02:09.209" v="6310" actId="1076"/>
        <pc:sldMasterMkLst>
          <pc:docMk/>
          <pc:sldMasterMk cId="3832228943" sldId="2147483688"/>
        </pc:sldMasterMkLst>
        <pc:picChg chg="del mod">
          <ac:chgData name="Alexandra Freltoft" userId="f4e5ae2a-d5e9-4d7b-872b-a6f57ea6ca0c" providerId="ADAL" clId="{534E68FC-8D20-4ED5-B5B7-997AB72B58CC}" dt="2021-08-26T12:35:46.987" v="5878" actId="478"/>
          <ac:picMkLst>
            <pc:docMk/>
            <pc:sldMasterMk cId="3832228943" sldId="2147483688"/>
            <ac:picMk id="9" creationId="{AA821098-AF3D-48AE-A1E0-9E1B38174C63}"/>
          </ac:picMkLst>
        </pc:picChg>
        <pc:sldLayoutChg chg="addSp modSp">
          <pc:chgData name="Alexandra Freltoft" userId="f4e5ae2a-d5e9-4d7b-872b-a6f57ea6ca0c" providerId="ADAL" clId="{534E68FC-8D20-4ED5-B5B7-997AB72B58CC}" dt="2021-08-26T12:35:07.606" v="5872"/>
          <pc:sldLayoutMkLst>
            <pc:docMk/>
            <pc:sldMasterMk cId="3832228943" sldId="2147483688"/>
            <pc:sldLayoutMk cId="2163581802" sldId="2147483689"/>
          </pc:sldLayoutMkLst>
          <pc:picChg chg="add mod">
            <ac:chgData name="Alexandra Freltoft" userId="f4e5ae2a-d5e9-4d7b-872b-a6f57ea6ca0c" providerId="ADAL" clId="{534E68FC-8D20-4ED5-B5B7-997AB72B58CC}" dt="2021-08-26T12:35:07.606" v="5872"/>
            <ac:picMkLst>
              <pc:docMk/>
              <pc:sldMasterMk cId="3832228943" sldId="2147483688"/>
              <pc:sldLayoutMk cId="2163581802" sldId="2147483689"/>
              <ac:picMk id="5" creationId="{DB885024-7124-433D-A541-B45BD3021C55}"/>
            </ac:picMkLst>
          </pc:picChg>
        </pc:sldLayoutChg>
        <pc:sldLayoutChg chg="addSp modSp">
          <pc:chgData name="Alexandra Freltoft" userId="f4e5ae2a-d5e9-4d7b-872b-a6f57ea6ca0c" providerId="ADAL" clId="{534E68FC-8D20-4ED5-B5B7-997AB72B58CC}" dt="2021-08-26T12:35:09.536" v="5873"/>
          <pc:sldLayoutMkLst>
            <pc:docMk/>
            <pc:sldMasterMk cId="3832228943" sldId="2147483688"/>
            <pc:sldLayoutMk cId="2730702550" sldId="2147483710"/>
          </pc:sldLayoutMkLst>
          <pc:picChg chg="add mod">
            <ac:chgData name="Alexandra Freltoft" userId="f4e5ae2a-d5e9-4d7b-872b-a6f57ea6ca0c" providerId="ADAL" clId="{534E68FC-8D20-4ED5-B5B7-997AB72B58CC}" dt="2021-08-26T12:35:09.536" v="5873"/>
            <ac:picMkLst>
              <pc:docMk/>
              <pc:sldMasterMk cId="3832228943" sldId="2147483688"/>
              <pc:sldLayoutMk cId="2730702550" sldId="2147483710"/>
              <ac:picMk id="6" creationId="{B18D191F-0D71-42A3-ACCD-C3773BA9A978}"/>
            </ac:picMkLst>
          </pc:picChg>
        </pc:sldLayoutChg>
        <pc:sldLayoutChg chg="addSp modSp mod">
          <pc:chgData name="Alexandra Freltoft" userId="f4e5ae2a-d5e9-4d7b-872b-a6f57ea6ca0c" providerId="ADAL" clId="{534E68FC-8D20-4ED5-B5B7-997AB72B58CC}" dt="2021-08-26T13:02:09.209" v="6310" actId="1076"/>
          <pc:sldLayoutMkLst>
            <pc:docMk/>
            <pc:sldMasterMk cId="3832228943" sldId="2147483688"/>
            <pc:sldLayoutMk cId="3040614298" sldId="2147483711"/>
          </pc:sldLayoutMkLst>
          <pc:picChg chg="add mod">
            <ac:chgData name="Alexandra Freltoft" userId="f4e5ae2a-d5e9-4d7b-872b-a6f57ea6ca0c" providerId="ADAL" clId="{534E68FC-8D20-4ED5-B5B7-997AB72B58CC}" dt="2021-08-26T13:02:09.209" v="6310" actId="1076"/>
            <ac:picMkLst>
              <pc:docMk/>
              <pc:sldMasterMk cId="3832228943" sldId="2147483688"/>
              <pc:sldLayoutMk cId="3040614298" sldId="2147483711"/>
              <ac:picMk id="9" creationId="{94896C4C-4244-42FA-86DB-5D026F97CE67}"/>
            </ac:picMkLst>
          </pc:picChg>
        </pc:sldLayoutChg>
        <pc:sldLayoutChg chg="addSp delSp modSp mod">
          <pc:chgData name="Alexandra Freltoft" userId="f4e5ae2a-d5e9-4d7b-872b-a6f57ea6ca0c" providerId="ADAL" clId="{534E68FC-8D20-4ED5-B5B7-997AB72B58CC}" dt="2021-08-26T12:22:26.545" v="5244"/>
          <pc:sldLayoutMkLst>
            <pc:docMk/>
            <pc:sldMasterMk cId="3832228943" sldId="2147483688"/>
            <pc:sldLayoutMk cId="3267601527" sldId="2147483716"/>
          </pc:sldLayoutMkLst>
          <pc:spChg chg="add mod">
            <ac:chgData name="Alexandra Freltoft" userId="f4e5ae2a-d5e9-4d7b-872b-a6f57ea6ca0c" providerId="ADAL" clId="{534E68FC-8D20-4ED5-B5B7-997AB72B58CC}" dt="2021-08-26T12:22:26.545" v="5244"/>
            <ac:spMkLst>
              <pc:docMk/>
              <pc:sldMasterMk cId="3832228943" sldId="2147483688"/>
              <pc:sldLayoutMk cId="3267601527" sldId="2147483716"/>
              <ac:spMk id="7" creationId="{DF2FFF2D-512A-4C85-BF67-B67B0D0DC1A1}"/>
            </ac:spMkLst>
          </pc:spChg>
          <pc:spChg chg="del">
            <ac:chgData name="Alexandra Freltoft" userId="f4e5ae2a-d5e9-4d7b-872b-a6f57ea6ca0c" providerId="ADAL" clId="{534E68FC-8D20-4ED5-B5B7-997AB72B58CC}" dt="2021-08-26T12:22:26.118" v="5243" actId="478"/>
            <ac:spMkLst>
              <pc:docMk/>
              <pc:sldMasterMk cId="3832228943" sldId="2147483688"/>
              <pc:sldLayoutMk cId="3267601527" sldId="2147483716"/>
              <ac:spMk id="10" creationId="{32E64E7D-56B0-4066-87E4-23781A5CD0D2}"/>
            </ac:spMkLst>
          </pc:spChg>
          <pc:picChg chg="del">
            <ac:chgData name="Alexandra Freltoft" userId="f4e5ae2a-d5e9-4d7b-872b-a6f57ea6ca0c" providerId="ADAL" clId="{534E68FC-8D20-4ED5-B5B7-997AB72B58CC}" dt="2021-08-26T12:22:26.118" v="5243" actId="478"/>
            <ac:picMkLst>
              <pc:docMk/>
              <pc:sldMasterMk cId="3832228943" sldId="2147483688"/>
              <pc:sldLayoutMk cId="3267601527" sldId="2147483716"/>
              <ac:picMk id="11" creationId="{45112449-00D3-4480-B75A-6F9CBBB67992}"/>
            </ac:picMkLst>
          </pc:picChg>
          <pc:picChg chg="add mod">
            <ac:chgData name="Alexandra Freltoft" userId="f4e5ae2a-d5e9-4d7b-872b-a6f57ea6ca0c" providerId="ADAL" clId="{534E68FC-8D20-4ED5-B5B7-997AB72B58CC}" dt="2021-08-26T12:22:26.545" v="5244"/>
            <ac:picMkLst>
              <pc:docMk/>
              <pc:sldMasterMk cId="3832228943" sldId="2147483688"/>
              <pc:sldLayoutMk cId="3267601527" sldId="2147483716"/>
              <ac:picMk id="12" creationId="{0FA01CD7-6228-4E4F-A79B-E39131A30465}"/>
            </ac:picMkLst>
          </pc:picChg>
        </pc:sldLayoutChg>
        <pc:sldLayoutChg chg="addSp delSp modSp mod">
          <pc:chgData name="Alexandra Freltoft" userId="f4e5ae2a-d5e9-4d7b-872b-a6f57ea6ca0c" providerId="ADAL" clId="{534E68FC-8D20-4ED5-B5B7-997AB72B58CC}" dt="2021-08-26T12:36:08.314" v="5884" actId="167"/>
          <pc:sldLayoutMkLst>
            <pc:docMk/>
            <pc:sldMasterMk cId="3832228943" sldId="2147483688"/>
            <pc:sldLayoutMk cId="1289967082" sldId="2147483717"/>
          </pc:sldLayoutMkLst>
          <pc:spChg chg="add del mod ord">
            <ac:chgData name="Alexandra Freltoft" userId="f4e5ae2a-d5e9-4d7b-872b-a6f57ea6ca0c" providerId="ADAL" clId="{534E68FC-8D20-4ED5-B5B7-997AB72B58CC}" dt="2021-08-26T12:35:54.358" v="5879" actId="478"/>
            <ac:spMkLst>
              <pc:docMk/>
              <pc:sldMasterMk cId="3832228943" sldId="2147483688"/>
              <pc:sldLayoutMk cId="1289967082" sldId="2147483717"/>
              <ac:spMk id="2" creationId="{DE935EEF-6116-4E77-B085-5D8A93F0415D}"/>
            </ac:spMkLst>
          </pc:spChg>
          <pc:spChg chg="add del">
            <ac:chgData name="Alexandra Freltoft" userId="f4e5ae2a-d5e9-4d7b-872b-a6f57ea6ca0c" providerId="ADAL" clId="{534E68FC-8D20-4ED5-B5B7-997AB72B58CC}" dt="2021-08-26T12:20:57.636" v="5169" actId="478"/>
            <ac:spMkLst>
              <pc:docMk/>
              <pc:sldMasterMk cId="3832228943" sldId="2147483688"/>
              <pc:sldLayoutMk cId="1289967082" sldId="2147483717"/>
              <ac:spMk id="9" creationId="{556D95D9-F5C2-4D16-9E3A-6D59F87EDBEC}"/>
            </ac:spMkLst>
          </pc:spChg>
          <pc:spChg chg="add del mod ord">
            <ac:chgData name="Alexandra Freltoft" userId="f4e5ae2a-d5e9-4d7b-872b-a6f57ea6ca0c" providerId="ADAL" clId="{534E68FC-8D20-4ED5-B5B7-997AB72B58CC}" dt="2021-08-26T12:35:43.931" v="5877" actId="478"/>
            <ac:spMkLst>
              <pc:docMk/>
              <pc:sldMasterMk cId="3832228943" sldId="2147483688"/>
              <pc:sldLayoutMk cId="1289967082" sldId="2147483717"/>
              <ac:spMk id="11" creationId="{F2545FA9-C876-40B5-862D-021D8DC7F736}"/>
            </ac:spMkLst>
          </pc:spChg>
          <pc:spChg chg="add mod ord">
            <ac:chgData name="Alexandra Freltoft" userId="f4e5ae2a-d5e9-4d7b-872b-a6f57ea6ca0c" providerId="ADAL" clId="{534E68FC-8D20-4ED5-B5B7-997AB72B58CC}" dt="2021-08-26T12:36:05.254" v="5883" actId="167"/>
            <ac:spMkLst>
              <pc:docMk/>
              <pc:sldMasterMk cId="3832228943" sldId="2147483688"/>
              <pc:sldLayoutMk cId="1289967082" sldId="2147483717"/>
              <ac:spMk id="14" creationId="{DD55C55F-E3CF-4585-985D-B57E196330D4}"/>
            </ac:spMkLst>
          </pc:spChg>
          <pc:picChg chg="mod ord">
            <ac:chgData name="Alexandra Freltoft" userId="f4e5ae2a-d5e9-4d7b-872b-a6f57ea6ca0c" providerId="ADAL" clId="{534E68FC-8D20-4ED5-B5B7-997AB72B58CC}" dt="2021-08-26T12:36:08.314" v="5884" actId="167"/>
            <ac:picMkLst>
              <pc:docMk/>
              <pc:sldMasterMk cId="3832228943" sldId="2147483688"/>
              <pc:sldLayoutMk cId="1289967082" sldId="2147483717"/>
              <ac:picMk id="7" creationId="{9A984518-95E4-48F8-998D-1259AF346799}"/>
            </ac:picMkLst>
          </pc:picChg>
          <pc:picChg chg="del mod ord">
            <ac:chgData name="Alexandra Freltoft" userId="f4e5ae2a-d5e9-4d7b-872b-a6f57ea6ca0c" providerId="ADAL" clId="{534E68FC-8D20-4ED5-B5B7-997AB72B58CC}" dt="2021-08-26T12:35:54.358" v="5879" actId="478"/>
            <ac:picMkLst>
              <pc:docMk/>
              <pc:sldMasterMk cId="3832228943" sldId="2147483688"/>
              <pc:sldLayoutMk cId="1289967082" sldId="2147483717"/>
              <ac:picMk id="10" creationId="{D9FE46F8-BC05-4698-834D-D2A76E92D705}"/>
            </ac:picMkLst>
          </pc:picChg>
          <pc:picChg chg="add del mod">
            <ac:chgData name="Alexandra Freltoft" userId="f4e5ae2a-d5e9-4d7b-872b-a6f57ea6ca0c" providerId="ADAL" clId="{534E68FC-8D20-4ED5-B5B7-997AB72B58CC}" dt="2021-08-26T12:36:01.285" v="5881" actId="478"/>
            <ac:picMkLst>
              <pc:docMk/>
              <pc:sldMasterMk cId="3832228943" sldId="2147483688"/>
              <pc:sldLayoutMk cId="1289967082" sldId="2147483717"/>
              <ac:picMk id="12" creationId="{F21F128B-06ED-41C5-9DF1-88F1053161A2}"/>
            </ac:picMkLst>
          </pc:picChg>
          <pc:picChg chg="add mod ord">
            <ac:chgData name="Alexandra Freltoft" userId="f4e5ae2a-d5e9-4d7b-872b-a6f57ea6ca0c" providerId="ADAL" clId="{534E68FC-8D20-4ED5-B5B7-997AB72B58CC}" dt="2021-08-26T12:36:05.254" v="5883" actId="167"/>
            <ac:picMkLst>
              <pc:docMk/>
              <pc:sldMasterMk cId="3832228943" sldId="2147483688"/>
              <pc:sldLayoutMk cId="1289967082" sldId="2147483717"/>
              <ac:picMk id="15" creationId="{8C5DE5A1-24B8-49DF-A7DF-510C6FFB54DA}"/>
            </ac:picMkLst>
          </pc:picChg>
        </pc:sldLayoutChg>
        <pc:sldLayoutChg chg="delSp mod ord">
          <pc:chgData name="Alexandra Freltoft" userId="f4e5ae2a-d5e9-4d7b-872b-a6f57ea6ca0c" providerId="ADAL" clId="{534E68FC-8D20-4ED5-B5B7-997AB72B58CC}" dt="2021-08-26T12:35:29.667" v="5876" actId="20578"/>
          <pc:sldLayoutMkLst>
            <pc:docMk/>
            <pc:sldMasterMk cId="3832228943" sldId="2147483688"/>
            <pc:sldLayoutMk cId="438468763" sldId="2147483725"/>
          </pc:sldLayoutMkLst>
          <pc:spChg chg="del">
            <ac:chgData name="Alexandra Freltoft" userId="f4e5ae2a-d5e9-4d7b-872b-a6f57ea6ca0c" providerId="ADAL" clId="{534E68FC-8D20-4ED5-B5B7-997AB72B58CC}" dt="2021-08-26T12:35:23.852" v="5875" actId="478"/>
            <ac:spMkLst>
              <pc:docMk/>
              <pc:sldMasterMk cId="3832228943" sldId="2147483688"/>
              <pc:sldLayoutMk cId="438468763" sldId="2147483725"/>
              <ac:spMk id="13" creationId="{E30EA279-1DD2-4025-9EFE-C14C8E0ECC63}"/>
            </ac:spMkLst>
          </pc:spChg>
          <pc:spChg chg="del">
            <ac:chgData name="Alexandra Freltoft" userId="f4e5ae2a-d5e9-4d7b-872b-a6f57ea6ca0c" providerId="ADAL" clId="{534E68FC-8D20-4ED5-B5B7-997AB72B58CC}" dt="2021-08-26T12:35:23.852" v="5875" actId="478"/>
            <ac:spMkLst>
              <pc:docMk/>
              <pc:sldMasterMk cId="3832228943" sldId="2147483688"/>
              <pc:sldLayoutMk cId="438468763" sldId="2147483725"/>
              <ac:spMk id="14" creationId="{AF65CEE2-416F-4F3C-82DE-BD62D026878E}"/>
            </ac:spMkLst>
          </pc:spChg>
        </pc:sldLayoutChg>
      </pc:sldMasterChg>
      <pc:sldMasterChg chg="addSp delSp modSp mod modSldLayout">
        <pc:chgData name="Alexandra Freltoft" userId="f4e5ae2a-d5e9-4d7b-872b-a6f57ea6ca0c" providerId="ADAL" clId="{534E68FC-8D20-4ED5-B5B7-997AB72B58CC}" dt="2021-08-26T13:02:46.910" v="6316" actId="404"/>
        <pc:sldMasterMkLst>
          <pc:docMk/>
          <pc:sldMasterMk cId="2250514283" sldId="2147483712"/>
        </pc:sldMasterMkLst>
        <pc:picChg chg="add mod">
          <ac:chgData name="Alexandra Freltoft" userId="f4e5ae2a-d5e9-4d7b-872b-a6f57ea6ca0c" providerId="ADAL" clId="{534E68FC-8D20-4ED5-B5B7-997AB72B58CC}" dt="2021-08-26T13:02:15.493" v="6311"/>
          <ac:picMkLst>
            <pc:docMk/>
            <pc:sldMasterMk cId="2250514283" sldId="2147483712"/>
            <ac:picMk id="8" creationId="{08588EFB-F8F8-4C6A-BA65-CD5B3A6BBBE1}"/>
          </ac:picMkLst>
        </pc:picChg>
        <pc:picChg chg="del mod">
          <ac:chgData name="Alexandra Freltoft" userId="f4e5ae2a-d5e9-4d7b-872b-a6f57ea6ca0c" providerId="ADAL" clId="{534E68FC-8D20-4ED5-B5B7-997AB72B58CC}" dt="2021-08-26T13:02:17.960" v="6312" actId="478"/>
          <ac:picMkLst>
            <pc:docMk/>
            <pc:sldMasterMk cId="2250514283" sldId="2147483712"/>
            <ac:picMk id="16" creationId="{A5A56D6D-A660-4BFA-A9C9-3CBF373B5FCF}"/>
          </ac:picMkLst>
        </pc:picChg>
        <pc:sldLayoutChg chg="modSp mod">
          <pc:chgData name="Alexandra Freltoft" userId="f4e5ae2a-d5e9-4d7b-872b-a6f57ea6ca0c" providerId="ADAL" clId="{534E68FC-8D20-4ED5-B5B7-997AB72B58CC}" dt="2021-08-26T13:01:11.366" v="6305" actId="12"/>
          <pc:sldLayoutMkLst>
            <pc:docMk/>
            <pc:sldMasterMk cId="2250514283" sldId="2147483712"/>
            <pc:sldLayoutMk cId="3998749663" sldId="2147483713"/>
          </pc:sldLayoutMkLst>
          <pc:spChg chg="mod">
            <ac:chgData name="Alexandra Freltoft" userId="f4e5ae2a-d5e9-4d7b-872b-a6f57ea6ca0c" providerId="ADAL" clId="{534E68FC-8D20-4ED5-B5B7-997AB72B58CC}" dt="2021-08-26T13:01:11.366" v="6305" actId="12"/>
            <ac:spMkLst>
              <pc:docMk/>
              <pc:sldMasterMk cId="2250514283" sldId="2147483712"/>
              <pc:sldLayoutMk cId="3998749663" sldId="2147483713"/>
              <ac:spMk id="13" creationId="{E30EA279-1DD2-4025-9EFE-C14C8E0ECC63}"/>
            </ac:spMkLst>
          </pc:spChg>
          <pc:spChg chg="mod">
            <ac:chgData name="Alexandra Freltoft" userId="f4e5ae2a-d5e9-4d7b-872b-a6f57ea6ca0c" providerId="ADAL" clId="{534E68FC-8D20-4ED5-B5B7-997AB72B58CC}" dt="2021-08-26T13:01:06.761" v="6303" actId="12"/>
            <ac:spMkLst>
              <pc:docMk/>
              <pc:sldMasterMk cId="2250514283" sldId="2147483712"/>
              <pc:sldLayoutMk cId="3998749663" sldId="2147483713"/>
              <ac:spMk id="15" creationId="{6299F692-F911-40A0-B72F-7EDA68EB24DF}"/>
            </ac:spMkLst>
          </pc:spChg>
          <pc:spChg chg="mod">
            <ac:chgData name="Alexandra Freltoft" userId="f4e5ae2a-d5e9-4d7b-872b-a6f57ea6ca0c" providerId="ADAL" clId="{534E68FC-8D20-4ED5-B5B7-997AB72B58CC}" dt="2021-08-26T13:01:06.761" v="6303" actId="12"/>
            <ac:spMkLst>
              <pc:docMk/>
              <pc:sldMasterMk cId="2250514283" sldId="2147483712"/>
              <pc:sldLayoutMk cId="3998749663" sldId="2147483713"/>
              <ac:spMk id="16" creationId="{120F7417-928C-484E-901A-CC91A0C34916}"/>
            </ac:spMkLst>
          </pc:spChg>
        </pc:sldLayoutChg>
        <pc:sldLayoutChg chg="modSp mod">
          <pc:chgData name="Alexandra Freltoft" userId="f4e5ae2a-d5e9-4d7b-872b-a6f57ea6ca0c" providerId="ADAL" clId="{534E68FC-8D20-4ED5-B5B7-997AB72B58CC}" dt="2021-08-26T13:01:30.891" v="6309" actId="12"/>
          <pc:sldLayoutMkLst>
            <pc:docMk/>
            <pc:sldMasterMk cId="2250514283" sldId="2147483712"/>
            <pc:sldLayoutMk cId="1208834128" sldId="2147483715"/>
          </pc:sldLayoutMkLst>
          <pc:spChg chg="mod">
            <ac:chgData name="Alexandra Freltoft" userId="f4e5ae2a-d5e9-4d7b-872b-a6f57ea6ca0c" providerId="ADAL" clId="{534E68FC-8D20-4ED5-B5B7-997AB72B58CC}" dt="2021-08-26T13:01:21.322" v="6306" actId="2711"/>
            <ac:spMkLst>
              <pc:docMk/>
              <pc:sldMasterMk cId="2250514283" sldId="2147483712"/>
              <pc:sldLayoutMk cId="1208834128" sldId="2147483715"/>
              <ac:spMk id="6" creationId="{B5AED717-B16A-4324-BC41-C4DA2CFD4F66}"/>
            </ac:spMkLst>
          </pc:spChg>
          <pc:spChg chg="mod">
            <ac:chgData name="Alexandra Freltoft" userId="f4e5ae2a-d5e9-4d7b-872b-a6f57ea6ca0c" providerId="ADAL" clId="{534E68FC-8D20-4ED5-B5B7-997AB72B58CC}" dt="2021-08-26T13:01:21.322" v="6306" actId="2711"/>
            <ac:spMkLst>
              <pc:docMk/>
              <pc:sldMasterMk cId="2250514283" sldId="2147483712"/>
              <pc:sldLayoutMk cId="1208834128" sldId="2147483715"/>
              <ac:spMk id="7" creationId="{B443DDD9-2309-4596-9171-8AB0F0409EBF}"/>
            </ac:spMkLst>
          </pc:spChg>
          <pc:spChg chg="mod">
            <ac:chgData name="Alexandra Freltoft" userId="f4e5ae2a-d5e9-4d7b-872b-a6f57ea6ca0c" providerId="ADAL" clId="{534E68FC-8D20-4ED5-B5B7-997AB72B58CC}" dt="2021-08-26T13:01:21.322" v="6306" actId="2711"/>
            <ac:spMkLst>
              <pc:docMk/>
              <pc:sldMasterMk cId="2250514283" sldId="2147483712"/>
              <pc:sldLayoutMk cId="1208834128" sldId="2147483715"/>
              <ac:spMk id="9" creationId="{2220C212-601B-42D2-ABA5-C5EA03F4F4E2}"/>
            </ac:spMkLst>
          </pc:spChg>
          <pc:spChg chg="mod">
            <ac:chgData name="Alexandra Freltoft" userId="f4e5ae2a-d5e9-4d7b-872b-a6f57ea6ca0c" providerId="ADAL" clId="{534E68FC-8D20-4ED5-B5B7-997AB72B58CC}" dt="2021-08-26T13:01:30.891" v="6309" actId="12"/>
            <ac:spMkLst>
              <pc:docMk/>
              <pc:sldMasterMk cId="2250514283" sldId="2147483712"/>
              <pc:sldLayoutMk cId="1208834128" sldId="2147483715"/>
              <ac:spMk id="13" creationId="{E30EA279-1DD2-4025-9EFE-C14C8E0ECC63}"/>
            </ac:spMkLst>
          </pc:spChg>
          <pc:spChg chg="mod">
            <ac:chgData name="Alexandra Freltoft" userId="f4e5ae2a-d5e9-4d7b-872b-a6f57ea6ca0c" providerId="ADAL" clId="{534E68FC-8D20-4ED5-B5B7-997AB72B58CC}" dt="2021-08-26T13:01:25.044" v="6307" actId="404"/>
            <ac:spMkLst>
              <pc:docMk/>
              <pc:sldMasterMk cId="2250514283" sldId="2147483712"/>
              <pc:sldLayoutMk cId="1208834128" sldId="2147483715"/>
              <ac:spMk id="15" creationId="{6299F692-F911-40A0-B72F-7EDA68EB24DF}"/>
            </ac:spMkLst>
          </pc:spChg>
          <pc:spChg chg="mod">
            <ac:chgData name="Alexandra Freltoft" userId="f4e5ae2a-d5e9-4d7b-872b-a6f57ea6ca0c" providerId="ADAL" clId="{534E68FC-8D20-4ED5-B5B7-997AB72B58CC}" dt="2021-08-26T13:01:25.044" v="6307" actId="404"/>
            <ac:spMkLst>
              <pc:docMk/>
              <pc:sldMasterMk cId="2250514283" sldId="2147483712"/>
              <pc:sldLayoutMk cId="1208834128" sldId="2147483715"/>
              <ac:spMk id="16" creationId="{120F7417-928C-484E-901A-CC91A0C34916}"/>
            </ac:spMkLst>
          </pc:spChg>
        </pc:sldLayoutChg>
        <pc:sldLayoutChg chg="modSp mod">
          <pc:chgData name="Alexandra Freltoft" userId="f4e5ae2a-d5e9-4d7b-872b-a6f57ea6ca0c" providerId="ADAL" clId="{534E68FC-8D20-4ED5-B5B7-997AB72B58CC}" dt="2021-08-26T13:02:35.660" v="6314" actId="404"/>
          <pc:sldLayoutMkLst>
            <pc:docMk/>
            <pc:sldMasterMk cId="2250514283" sldId="2147483712"/>
            <pc:sldLayoutMk cId="2552699163" sldId="2147483721"/>
          </pc:sldLayoutMkLst>
          <pc:spChg chg="mod">
            <ac:chgData name="Alexandra Freltoft" userId="f4e5ae2a-d5e9-4d7b-872b-a6f57ea6ca0c" providerId="ADAL" clId="{534E68FC-8D20-4ED5-B5B7-997AB72B58CC}" dt="2021-08-26T13:02:35.660" v="6314" actId="404"/>
            <ac:spMkLst>
              <pc:docMk/>
              <pc:sldMasterMk cId="2250514283" sldId="2147483712"/>
              <pc:sldLayoutMk cId="2552699163" sldId="2147483721"/>
              <ac:spMk id="13" creationId="{E30EA279-1DD2-4025-9EFE-C14C8E0ECC63}"/>
            </ac:spMkLst>
          </pc:spChg>
          <pc:spChg chg="mod">
            <ac:chgData name="Alexandra Freltoft" userId="f4e5ae2a-d5e9-4d7b-872b-a6f57ea6ca0c" providerId="ADAL" clId="{534E68FC-8D20-4ED5-B5B7-997AB72B58CC}" dt="2021-08-26T13:02:35.660" v="6314" actId="404"/>
            <ac:spMkLst>
              <pc:docMk/>
              <pc:sldMasterMk cId="2250514283" sldId="2147483712"/>
              <pc:sldLayoutMk cId="2552699163" sldId="2147483721"/>
              <ac:spMk id="16" creationId="{120F7417-928C-484E-901A-CC91A0C34916}"/>
            </ac:spMkLst>
          </pc:spChg>
        </pc:sldLayoutChg>
        <pc:sldLayoutChg chg="modSp mod">
          <pc:chgData name="Alexandra Freltoft" userId="f4e5ae2a-d5e9-4d7b-872b-a6f57ea6ca0c" providerId="ADAL" clId="{534E68FC-8D20-4ED5-B5B7-997AB72B58CC}" dt="2021-08-26T13:02:46.910" v="6316" actId="404"/>
          <pc:sldLayoutMkLst>
            <pc:docMk/>
            <pc:sldMasterMk cId="2250514283" sldId="2147483712"/>
            <pc:sldLayoutMk cId="166303827" sldId="2147483722"/>
          </pc:sldLayoutMkLst>
          <pc:spChg chg="mod">
            <ac:chgData name="Alexandra Freltoft" userId="f4e5ae2a-d5e9-4d7b-872b-a6f57ea6ca0c" providerId="ADAL" clId="{534E68FC-8D20-4ED5-B5B7-997AB72B58CC}" dt="2021-08-26T13:02:43.760" v="6315" actId="2711"/>
            <ac:spMkLst>
              <pc:docMk/>
              <pc:sldMasterMk cId="2250514283" sldId="2147483712"/>
              <pc:sldLayoutMk cId="166303827" sldId="2147483722"/>
              <ac:spMk id="6" creationId="{B5AED717-B16A-4324-BC41-C4DA2CFD4F66}"/>
            </ac:spMkLst>
          </pc:spChg>
          <pc:spChg chg="mod">
            <ac:chgData name="Alexandra Freltoft" userId="f4e5ae2a-d5e9-4d7b-872b-a6f57ea6ca0c" providerId="ADAL" clId="{534E68FC-8D20-4ED5-B5B7-997AB72B58CC}" dt="2021-08-26T13:02:43.760" v="6315" actId="2711"/>
            <ac:spMkLst>
              <pc:docMk/>
              <pc:sldMasterMk cId="2250514283" sldId="2147483712"/>
              <pc:sldLayoutMk cId="166303827" sldId="2147483722"/>
              <ac:spMk id="7" creationId="{B443DDD9-2309-4596-9171-8AB0F0409EBF}"/>
            </ac:spMkLst>
          </pc:spChg>
          <pc:spChg chg="mod">
            <ac:chgData name="Alexandra Freltoft" userId="f4e5ae2a-d5e9-4d7b-872b-a6f57ea6ca0c" providerId="ADAL" clId="{534E68FC-8D20-4ED5-B5B7-997AB72B58CC}" dt="2021-08-26T13:02:46.910" v="6316" actId="404"/>
            <ac:spMkLst>
              <pc:docMk/>
              <pc:sldMasterMk cId="2250514283" sldId="2147483712"/>
              <pc:sldLayoutMk cId="166303827" sldId="2147483722"/>
              <ac:spMk id="10" creationId="{83FB63DD-EE39-4965-B538-D03BA5D09509}"/>
            </ac:spMkLst>
          </pc:spChg>
          <pc:spChg chg="mod">
            <ac:chgData name="Alexandra Freltoft" userId="f4e5ae2a-d5e9-4d7b-872b-a6f57ea6ca0c" providerId="ADAL" clId="{534E68FC-8D20-4ED5-B5B7-997AB72B58CC}" dt="2021-08-26T13:02:46.910" v="6316" actId="404"/>
            <ac:spMkLst>
              <pc:docMk/>
              <pc:sldMasterMk cId="2250514283" sldId="2147483712"/>
              <pc:sldLayoutMk cId="166303827" sldId="2147483722"/>
              <ac:spMk id="11" creationId="{54FEC322-A3EE-43EC-BA05-D491EBEC69F6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788-4031-8C4F-00DA198AE93B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788-4031-8C4F-00DA198AE93B}"/>
              </c:ext>
            </c:extLst>
          </c:dPt>
          <c:dPt>
            <c:idx val="2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788-4031-8C4F-00DA198AE93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788-4031-8C4F-00DA198AE93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788-4031-8C4F-00DA198AE93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788-4031-8C4F-00DA198AE93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788-4031-8C4F-00DA198AE93B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788-4031-8C4F-00DA198AE93B}"/>
              </c:ext>
            </c:extLst>
          </c:dPt>
          <c:dPt>
            <c:idx val="8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788-4031-8C4F-00DA198AE93B}"/>
              </c:ext>
            </c:extLst>
          </c:dPt>
          <c:dPt>
            <c:idx val="9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788-4031-8C4F-00DA198AE93B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788-4031-8C4F-00DA198AE93B}"/>
              </c:ext>
            </c:extLst>
          </c:dPt>
          <c:dPt>
            <c:idx val="1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B788-4031-8C4F-00DA198AE93B}"/>
              </c:ext>
            </c:extLst>
          </c:dPt>
          <c:cat>
            <c:strRef>
              <c:f>Sheet1!$A$2:$A$13</c:f>
              <c:strCache>
                <c:ptCount val="12"/>
                <c:pt idx="0">
                  <c:v>Color 1</c:v>
                </c:pt>
                <c:pt idx="1">
                  <c:v>Color 2</c:v>
                </c:pt>
                <c:pt idx="2">
                  <c:v>Color 3</c:v>
                </c:pt>
                <c:pt idx="3">
                  <c:v>Color 4</c:v>
                </c:pt>
                <c:pt idx="4">
                  <c:v>Color 5</c:v>
                </c:pt>
                <c:pt idx="5">
                  <c:v>Color 6</c:v>
                </c:pt>
                <c:pt idx="6">
                  <c:v>Color 7</c:v>
                </c:pt>
                <c:pt idx="7">
                  <c:v>Color 8</c:v>
                </c:pt>
                <c:pt idx="8">
                  <c:v>Color 9</c:v>
                </c:pt>
                <c:pt idx="9">
                  <c:v>Color 10</c:v>
                </c:pt>
                <c:pt idx="10">
                  <c:v>Color 11</c:v>
                </c:pt>
                <c:pt idx="11">
                  <c:v>Color 1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B788-4031-8C4F-00DA198AE9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788-4031-8C4F-00DA198AE93B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788-4031-8C4F-00DA198AE93B}"/>
              </c:ext>
            </c:extLst>
          </c:dPt>
          <c:dPt>
            <c:idx val="2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788-4031-8C4F-00DA198AE93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788-4031-8C4F-00DA198AE93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788-4031-8C4F-00DA198AE93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788-4031-8C4F-00DA198AE93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788-4031-8C4F-00DA198AE93B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788-4031-8C4F-00DA198AE93B}"/>
              </c:ext>
            </c:extLst>
          </c:dPt>
          <c:dPt>
            <c:idx val="8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788-4031-8C4F-00DA198AE93B}"/>
              </c:ext>
            </c:extLst>
          </c:dPt>
          <c:dPt>
            <c:idx val="9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788-4031-8C4F-00DA198AE93B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788-4031-8C4F-00DA198AE93B}"/>
              </c:ext>
            </c:extLst>
          </c:dPt>
          <c:dPt>
            <c:idx val="1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B788-4031-8C4F-00DA198AE93B}"/>
              </c:ext>
            </c:extLst>
          </c:dPt>
          <c:cat>
            <c:strRef>
              <c:f>Sheet1!$A$2:$A$13</c:f>
              <c:strCache>
                <c:ptCount val="12"/>
                <c:pt idx="0">
                  <c:v>Color 1</c:v>
                </c:pt>
                <c:pt idx="1">
                  <c:v>Color 2</c:v>
                </c:pt>
                <c:pt idx="2">
                  <c:v>Color 3</c:v>
                </c:pt>
                <c:pt idx="3">
                  <c:v>Color 4</c:v>
                </c:pt>
                <c:pt idx="4">
                  <c:v>Color 5</c:v>
                </c:pt>
                <c:pt idx="5">
                  <c:v>Color 6</c:v>
                </c:pt>
                <c:pt idx="6">
                  <c:v>Color 7</c:v>
                </c:pt>
                <c:pt idx="7">
                  <c:v>Color 8</c:v>
                </c:pt>
                <c:pt idx="8">
                  <c:v>Color 9</c:v>
                </c:pt>
                <c:pt idx="9">
                  <c:v>Color 10</c:v>
                </c:pt>
                <c:pt idx="10">
                  <c:v>Color 11</c:v>
                </c:pt>
                <c:pt idx="11">
                  <c:v>Color 1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B788-4031-8C4F-00DA198AE9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7A7334-674D-4E11-BE07-A1C55473E38C}" type="datetimeFigureOut">
              <a:rPr lang="da-DK" smtClean="0"/>
              <a:t>21-06-2022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A162AB-C1AA-4B2C-BD49-3A964044A849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805950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162AB-C1AA-4B2C-BD49-3A964044A849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86273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4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1.tif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31136" y="1695532"/>
            <a:ext cx="7729728" cy="1016186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sz="3600" b="0">
                <a:latin typeface="Abadi Extra Light" panose="020B0204020104020204" pitchFamily="34" charset="0"/>
              </a:defRPr>
            </a:lvl1pPr>
          </a:lstStyle>
          <a:p>
            <a:r>
              <a:rPr lang="en-GB"/>
              <a:t>Slide show titl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A75EFB-1418-444B-A00D-A9F078EBFD23}"/>
              </a:ext>
            </a:extLst>
          </p:cNvPr>
          <p:cNvSpPr/>
          <p:nvPr userDrawn="1"/>
        </p:nvSpPr>
        <p:spPr>
          <a:xfrm>
            <a:off x="2361872" y="2755551"/>
            <a:ext cx="2447636" cy="5541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EF4DBF5-851A-4156-84E6-DAE958E6B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31135" y="2926468"/>
            <a:ext cx="7729727" cy="766763"/>
          </a:xfrm>
          <a:prstGeom prst="rect">
            <a:avLst/>
          </a:prstGeom>
        </p:spPr>
        <p:txBody>
          <a:bodyPr lIns="180000" tIns="180000" rIns="180000" bIns="180000"/>
          <a:lstStyle>
            <a:lvl1pPr>
              <a:buNone/>
              <a:defRPr>
                <a:latin typeface="Abadi Extra Light" panose="020B0204020104020204" pitchFamily="34" charset="0"/>
              </a:defRPr>
            </a:lvl1pPr>
          </a:lstStyle>
          <a:p>
            <a:pPr lvl="0"/>
            <a:r>
              <a:rPr lang="en-US">
                <a:latin typeface="Abadi Extra Light" panose="020B0204020104020204" pitchFamily="34" charset="0"/>
              </a:rPr>
              <a:t>Subtitle</a:t>
            </a:r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2789354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21714" y="2496457"/>
            <a:ext cx="4093029" cy="3073400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9171" y="839004"/>
            <a:ext cx="4105571" cy="1367168"/>
          </a:xfrm>
          <a:prstGeom prst="rect">
            <a:avLst/>
          </a:prstGeom>
        </p:spPr>
        <p:txBody>
          <a:bodyPr anchor="ctr"/>
          <a:lstStyle>
            <a:lvl1pPr algn="l">
              <a:defRPr sz="4000" b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B0604020202020204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pic>
        <p:nvPicPr>
          <p:cNvPr id="9" name="Picture 8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AE2EDD04-94EE-4442-87A0-BB8CCDA2E7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279207" y="798285"/>
            <a:ext cx="5544001" cy="578394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F2FFF2D-512A-4C85-BF67-B67B0D0DC1A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D4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A01CD7-6228-4E4F-A79B-E39131A304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673" y="6006239"/>
            <a:ext cx="2018852" cy="84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015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9A984518-95E4-48F8-998D-1259AF346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279207" y="798285"/>
            <a:ext cx="5544001" cy="578394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D55C55F-E3CF-4585-985D-B57E196330D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D4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C5DE5A1-24B8-49DF-A7DF-510C6FFB54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673" y="6006239"/>
            <a:ext cx="2018852" cy="845968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24262" y="1432295"/>
            <a:ext cx="4093029" cy="4281714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023" y="1745487"/>
            <a:ext cx="3801438" cy="3655331"/>
          </a:xfrm>
          <a:prstGeom prst="rect">
            <a:avLst/>
          </a:prstGeom>
        </p:spPr>
        <p:txBody>
          <a:bodyPr anchor="ctr"/>
          <a:lstStyle>
            <a:lvl1pPr algn="l">
              <a:defRPr sz="3600" b="0" spc="0">
                <a:solidFill>
                  <a:schemeClr val="tx1"/>
                </a:solidFill>
                <a:latin typeface="Arial Black" panose="020B0A04020102020204" pitchFamily="34" charset="0"/>
                <a:cs typeface="Aharoni" panose="020B0604020202020204" pitchFamily="2" charset="-79"/>
              </a:defRPr>
            </a:lvl1pPr>
          </a:lstStyle>
          <a:p>
            <a:r>
              <a:rPr lang="en-US"/>
              <a:t>Write the conclusion in the HEADLINE</a:t>
            </a:r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289967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breake - plu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7FD027C-04B1-46DF-8E28-FC06DE97AD81}"/>
              </a:ext>
            </a:extLst>
          </p:cNvPr>
          <p:cNvSpPr/>
          <p:nvPr userDrawn="1"/>
        </p:nvSpPr>
        <p:spPr>
          <a:xfrm>
            <a:off x="147600" y="146776"/>
            <a:ext cx="11896800" cy="657307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100000"/>
                </a:schemeClr>
              </a:gs>
              <a:gs pos="23000">
                <a:schemeClr val="accent2">
                  <a:lumMod val="95000"/>
                </a:schemeClr>
              </a:gs>
              <a:gs pos="69000">
                <a:schemeClr val="accent2">
                  <a:lumMod val="80000"/>
                </a:schemeClr>
              </a:gs>
              <a:gs pos="97000">
                <a:schemeClr val="accent2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57300" y="2588518"/>
            <a:ext cx="7729728" cy="1439999"/>
          </a:xfrm>
          <a:prstGeom prst="rect">
            <a:avLst/>
          </a:prstGeom>
          <a:noFill/>
          <a:ln>
            <a:noFill/>
          </a:ln>
        </p:spPr>
        <p:txBody>
          <a:bodyPr lIns="360000" tIns="180000" bIns="180000" anchor="ctr"/>
          <a:lstStyle>
            <a:lvl1pPr algn="l">
              <a:defRPr sz="3600" b="0" spc="600">
                <a:latin typeface="Abadi Extra Light" panose="020B0204020104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GB"/>
              <a:t>SECTION break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B4B421-6740-44FC-A2F4-2BA5FAA5E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811D2E7-AD47-45B0-9314-A33B6961FD44}"/>
              </a:ext>
            </a:extLst>
          </p:cNvPr>
          <p:cNvSpPr>
            <a:spLocks noChangeAspect="1"/>
          </p:cNvSpPr>
          <p:nvPr userDrawn="1"/>
        </p:nvSpPr>
        <p:spPr>
          <a:xfrm>
            <a:off x="295200" y="2777468"/>
            <a:ext cx="1062100" cy="10621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5859517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299F692-F911-40A0-B72F-7EDA68EB24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63147" y="3711342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23857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1" y="3711343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55539" y="3711341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39987496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299F692-F911-40A0-B72F-7EDA68EB24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3147" y="3567288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7601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1731" y="3567289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5539" y="3567286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5AED717-B16A-4324-BC41-C4DA2CFD4F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11731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b="0">
                <a:solidFill>
                  <a:schemeClr val="bg1"/>
                </a:solidFill>
                <a:latin typeface="Arial Nova Light" panose="020B0304020202020204" pitchFamily="34" charset="0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 1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443DDD9-2309-4596-9171-8AB0F0409E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63147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8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 2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220C212-601B-42D2-ABA5-C5EA03F4F4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55539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8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</a:pPr>
            <a:r>
              <a:rPr lang="en-US"/>
              <a:t>Title 3</a:t>
            </a:r>
          </a:p>
        </p:txBody>
      </p:sp>
    </p:spTree>
    <p:extLst>
      <p:ext uri="{BB962C8B-B14F-4D97-AF65-F5344CB8AC3E}">
        <p14:creationId xmlns:p14="http://schemas.microsoft.com/office/powerpoint/2010/main" val="12088341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23857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0" y="3711343"/>
            <a:ext cx="4016625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3644" y="3711341"/>
            <a:ext cx="4016625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25526991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7601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5AED717-B16A-4324-BC41-C4DA2CFD4F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11731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b="0">
                <a:solidFill>
                  <a:schemeClr val="bg1"/>
                </a:solidFill>
                <a:latin typeface="Arial Nova Light" panose="020B0304020202020204" pitchFamily="34" charset="0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 1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443DDD9-2309-4596-9171-8AB0F0409E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3644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8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 2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83FB63DD-EE39-4965-B538-D03BA5D095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0" y="3612445"/>
            <a:ext cx="4016625" cy="2210130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54FEC322-A3EE-43EC-BA05-D491EBEC6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3644" y="3612443"/>
            <a:ext cx="4016625" cy="2210130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1663038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break - gree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1CB9EB0-2062-45BE-8D90-7BA3BA8BFD94}"/>
              </a:ext>
            </a:extLst>
          </p:cNvPr>
          <p:cNvSpPr/>
          <p:nvPr userDrawn="1"/>
        </p:nvSpPr>
        <p:spPr>
          <a:xfrm>
            <a:off x="147600" y="146776"/>
            <a:ext cx="11888266" cy="6573074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90000"/>
                  <a:lumOff val="10000"/>
                </a:schemeClr>
              </a:gs>
              <a:gs pos="23000">
                <a:schemeClr val="accent4">
                  <a:lumMod val="95000"/>
                  <a:lumOff val="5000"/>
                </a:schemeClr>
              </a:gs>
              <a:gs pos="69000">
                <a:schemeClr val="accent4">
                  <a:lumMod val="95000"/>
                </a:schemeClr>
              </a:gs>
              <a:gs pos="97000">
                <a:schemeClr val="accent4">
                  <a:lumMod val="9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57300" y="2588518"/>
            <a:ext cx="7729728" cy="1439999"/>
          </a:xfrm>
          <a:prstGeom prst="rect">
            <a:avLst/>
          </a:prstGeom>
          <a:noFill/>
          <a:ln>
            <a:noFill/>
          </a:ln>
        </p:spPr>
        <p:txBody>
          <a:bodyPr lIns="360000" tIns="180000" bIns="180000" anchor="ctr"/>
          <a:lstStyle>
            <a:lvl1pPr algn="l">
              <a:defRPr sz="3600" b="0" spc="600">
                <a:latin typeface="Abadi Extra Light" panose="020B0204020104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GB"/>
              <a:t>SECTION break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B4B421-6740-44FC-A2F4-2BA5FAA5E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811D2E7-AD47-45B0-9314-A33B6961FD44}"/>
              </a:ext>
            </a:extLst>
          </p:cNvPr>
          <p:cNvSpPr>
            <a:spLocks noChangeAspect="1"/>
          </p:cNvSpPr>
          <p:nvPr userDrawn="1"/>
        </p:nvSpPr>
        <p:spPr>
          <a:xfrm>
            <a:off x="295200" y="2777468"/>
            <a:ext cx="1062100" cy="10621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818167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29169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chem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5BC61D-C9E0-47A1-B72A-C091C60EA585}"/>
              </a:ext>
            </a:extLst>
          </p:cNvPr>
          <p:cNvSpPr/>
          <p:nvPr userDrawn="1"/>
        </p:nvSpPr>
        <p:spPr>
          <a:xfrm>
            <a:off x="1746832" y="836964"/>
            <a:ext cx="720000" cy="7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AC8D1D6-FEB8-419B-98AB-DAAEE691644B}"/>
              </a:ext>
            </a:extLst>
          </p:cNvPr>
          <p:cNvSpPr/>
          <p:nvPr userDrawn="1"/>
        </p:nvSpPr>
        <p:spPr>
          <a:xfrm>
            <a:off x="2696742" y="836964"/>
            <a:ext cx="720000" cy="7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9DC4D6-097F-4191-976D-C94EB1786801}"/>
              </a:ext>
            </a:extLst>
          </p:cNvPr>
          <p:cNvSpPr/>
          <p:nvPr userDrawn="1"/>
        </p:nvSpPr>
        <p:spPr>
          <a:xfrm>
            <a:off x="3646652" y="836964"/>
            <a:ext cx="720000" cy="72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3529D24-56E9-413D-8F32-0FD4D9A68C82}"/>
              </a:ext>
            </a:extLst>
          </p:cNvPr>
          <p:cNvSpPr/>
          <p:nvPr userDrawn="1"/>
        </p:nvSpPr>
        <p:spPr>
          <a:xfrm>
            <a:off x="4596562" y="836964"/>
            <a:ext cx="72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E05212-11A7-449F-A107-A4750FA5CCE9}"/>
              </a:ext>
            </a:extLst>
          </p:cNvPr>
          <p:cNvSpPr/>
          <p:nvPr userDrawn="1"/>
        </p:nvSpPr>
        <p:spPr>
          <a:xfrm>
            <a:off x="5546472" y="836964"/>
            <a:ext cx="720000" cy="72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E972C6-8747-43A8-800D-42D4D90F95AC}"/>
              </a:ext>
            </a:extLst>
          </p:cNvPr>
          <p:cNvSpPr/>
          <p:nvPr userDrawn="1"/>
        </p:nvSpPr>
        <p:spPr>
          <a:xfrm>
            <a:off x="1746832" y="1756807"/>
            <a:ext cx="720000" cy="7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11D6B7-DB08-4C78-8B6E-808AE398C811}"/>
              </a:ext>
            </a:extLst>
          </p:cNvPr>
          <p:cNvSpPr/>
          <p:nvPr userDrawn="1"/>
        </p:nvSpPr>
        <p:spPr>
          <a:xfrm>
            <a:off x="2696742" y="1756807"/>
            <a:ext cx="720000" cy="72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B25053-5AF3-422D-B437-E3991D2483BD}"/>
              </a:ext>
            </a:extLst>
          </p:cNvPr>
          <p:cNvSpPr/>
          <p:nvPr userDrawn="1"/>
        </p:nvSpPr>
        <p:spPr>
          <a:xfrm>
            <a:off x="3646652" y="1756807"/>
            <a:ext cx="720000" cy="72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1F11AB4-BDAB-4D4C-A889-C96058647AC3}"/>
              </a:ext>
            </a:extLst>
          </p:cNvPr>
          <p:cNvSpPr/>
          <p:nvPr userDrawn="1"/>
        </p:nvSpPr>
        <p:spPr>
          <a:xfrm>
            <a:off x="4596562" y="1756807"/>
            <a:ext cx="720000" cy="72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E7FE399-C254-4881-A321-97AD3226B49B}"/>
              </a:ext>
            </a:extLst>
          </p:cNvPr>
          <p:cNvSpPr/>
          <p:nvPr userDrawn="1"/>
        </p:nvSpPr>
        <p:spPr>
          <a:xfrm>
            <a:off x="5546472" y="1756807"/>
            <a:ext cx="720000" cy="72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03BBF4-1184-4ACD-BE6F-AE6198327DD1}"/>
              </a:ext>
            </a:extLst>
          </p:cNvPr>
          <p:cNvSpPr/>
          <p:nvPr userDrawn="1"/>
        </p:nvSpPr>
        <p:spPr>
          <a:xfrm>
            <a:off x="1746832" y="2676650"/>
            <a:ext cx="720000" cy="7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670AEB-2E77-402F-AF2E-D83306E4C3AA}"/>
              </a:ext>
            </a:extLst>
          </p:cNvPr>
          <p:cNvSpPr/>
          <p:nvPr userDrawn="1"/>
        </p:nvSpPr>
        <p:spPr>
          <a:xfrm>
            <a:off x="2696742" y="2676650"/>
            <a:ext cx="720000" cy="72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3A05373-2CE7-4500-ABB9-55153530168E}"/>
              </a:ext>
            </a:extLst>
          </p:cNvPr>
          <p:cNvSpPr/>
          <p:nvPr userDrawn="1"/>
        </p:nvSpPr>
        <p:spPr>
          <a:xfrm>
            <a:off x="3646652" y="2676650"/>
            <a:ext cx="720000" cy="72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0D21FA-3A37-4B97-8915-9D4CA4DE4915}"/>
              </a:ext>
            </a:extLst>
          </p:cNvPr>
          <p:cNvSpPr/>
          <p:nvPr userDrawn="1"/>
        </p:nvSpPr>
        <p:spPr>
          <a:xfrm>
            <a:off x="4596562" y="2676650"/>
            <a:ext cx="720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2044F6E-BED8-43D0-9997-7371C8875190}"/>
              </a:ext>
            </a:extLst>
          </p:cNvPr>
          <p:cNvSpPr/>
          <p:nvPr userDrawn="1"/>
        </p:nvSpPr>
        <p:spPr>
          <a:xfrm>
            <a:off x="5546472" y="2676650"/>
            <a:ext cx="720000" cy="720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5970C2-00C6-4315-B9EE-984A41449D60}"/>
              </a:ext>
            </a:extLst>
          </p:cNvPr>
          <p:cNvSpPr/>
          <p:nvPr userDrawn="1"/>
        </p:nvSpPr>
        <p:spPr>
          <a:xfrm>
            <a:off x="1746832" y="3596493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9F72527-470C-44D8-9855-4619796B7BB5}"/>
              </a:ext>
            </a:extLst>
          </p:cNvPr>
          <p:cNvSpPr/>
          <p:nvPr userDrawn="1"/>
        </p:nvSpPr>
        <p:spPr>
          <a:xfrm>
            <a:off x="2696742" y="3596493"/>
            <a:ext cx="720000" cy="72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007DFDD-D638-45F7-AF04-A8FB872172BE}"/>
              </a:ext>
            </a:extLst>
          </p:cNvPr>
          <p:cNvSpPr/>
          <p:nvPr userDrawn="1"/>
        </p:nvSpPr>
        <p:spPr>
          <a:xfrm>
            <a:off x="3646652" y="3596493"/>
            <a:ext cx="720000" cy="72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E9AB0CE-EA61-4AB9-9AD5-99657BC8BCBA}"/>
              </a:ext>
            </a:extLst>
          </p:cNvPr>
          <p:cNvSpPr/>
          <p:nvPr userDrawn="1"/>
        </p:nvSpPr>
        <p:spPr>
          <a:xfrm>
            <a:off x="4596562" y="3596493"/>
            <a:ext cx="720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F6A3C0-2D92-4162-B0BE-2ACF9C097B9A}"/>
              </a:ext>
            </a:extLst>
          </p:cNvPr>
          <p:cNvSpPr/>
          <p:nvPr userDrawn="1"/>
        </p:nvSpPr>
        <p:spPr>
          <a:xfrm>
            <a:off x="5546472" y="3596493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35BDCA7-A125-40F4-971C-E02701A51613}"/>
              </a:ext>
            </a:extLst>
          </p:cNvPr>
          <p:cNvSpPr/>
          <p:nvPr userDrawn="1"/>
        </p:nvSpPr>
        <p:spPr>
          <a:xfrm>
            <a:off x="1746832" y="4516336"/>
            <a:ext cx="720000" cy="72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978776-7D3A-4ECB-B3E6-F87602BC17EC}"/>
              </a:ext>
            </a:extLst>
          </p:cNvPr>
          <p:cNvSpPr/>
          <p:nvPr userDrawn="1"/>
        </p:nvSpPr>
        <p:spPr>
          <a:xfrm>
            <a:off x="2696742" y="4516336"/>
            <a:ext cx="720000" cy="72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EE673E-9AD5-437E-A80B-D76A14CC5A87}"/>
              </a:ext>
            </a:extLst>
          </p:cNvPr>
          <p:cNvSpPr/>
          <p:nvPr userDrawn="1"/>
        </p:nvSpPr>
        <p:spPr>
          <a:xfrm>
            <a:off x="3646652" y="4516336"/>
            <a:ext cx="720000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FE016D0-9D3C-4801-AA99-C3425937F7AC}"/>
              </a:ext>
            </a:extLst>
          </p:cNvPr>
          <p:cNvSpPr/>
          <p:nvPr userDrawn="1"/>
        </p:nvSpPr>
        <p:spPr>
          <a:xfrm>
            <a:off x="4596562" y="4516336"/>
            <a:ext cx="720000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D880233-403C-4B3D-B543-192068E910C9}"/>
              </a:ext>
            </a:extLst>
          </p:cNvPr>
          <p:cNvSpPr/>
          <p:nvPr userDrawn="1"/>
        </p:nvSpPr>
        <p:spPr>
          <a:xfrm>
            <a:off x="5546472" y="4516336"/>
            <a:ext cx="720000" cy="72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58B316F-944D-43FB-9FCD-87B06B1C62C6}"/>
              </a:ext>
            </a:extLst>
          </p:cNvPr>
          <p:cNvSpPr/>
          <p:nvPr userDrawn="1"/>
        </p:nvSpPr>
        <p:spPr>
          <a:xfrm>
            <a:off x="1746832" y="5436179"/>
            <a:ext cx="720000" cy="72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E6271E4-723A-4DC8-8AE1-3D85163B9B49}"/>
              </a:ext>
            </a:extLst>
          </p:cNvPr>
          <p:cNvSpPr/>
          <p:nvPr userDrawn="1"/>
        </p:nvSpPr>
        <p:spPr>
          <a:xfrm>
            <a:off x="2696742" y="5436179"/>
            <a:ext cx="720000" cy="720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35B5A1B-7074-4ACA-AA73-CF24E4758E66}"/>
              </a:ext>
            </a:extLst>
          </p:cNvPr>
          <p:cNvSpPr/>
          <p:nvPr userDrawn="1"/>
        </p:nvSpPr>
        <p:spPr>
          <a:xfrm>
            <a:off x="3646652" y="5436179"/>
            <a:ext cx="720000" cy="72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383959-987D-4FA4-8B88-831EA08AE8E7}"/>
              </a:ext>
            </a:extLst>
          </p:cNvPr>
          <p:cNvSpPr/>
          <p:nvPr userDrawn="1"/>
        </p:nvSpPr>
        <p:spPr>
          <a:xfrm>
            <a:off x="4596562" y="5436179"/>
            <a:ext cx="720000" cy="72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AD48CA-3728-4DF9-8416-3EAEE53052BB}"/>
              </a:ext>
            </a:extLst>
          </p:cNvPr>
          <p:cNvSpPr txBox="1"/>
          <p:nvPr userDrawn="1"/>
        </p:nvSpPr>
        <p:spPr>
          <a:xfrm>
            <a:off x="647585" y="1057400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307C98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9B15187-694D-4164-B47E-6896AE89727B}"/>
              </a:ext>
            </a:extLst>
          </p:cNvPr>
          <p:cNvSpPr txBox="1"/>
          <p:nvPr userDrawn="1"/>
        </p:nvSpPr>
        <p:spPr>
          <a:xfrm>
            <a:off x="647585" y="1978307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684470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344D532-AC73-4F12-B32E-90E267A89149}"/>
              </a:ext>
            </a:extLst>
          </p:cNvPr>
          <p:cNvSpPr txBox="1"/>
          <p:nvPr userDrawn="1"/>
        </p:nvSpPr>
        <p:spPr>
          <a:xfrm>
            <a:off x="650911" y="2898150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3A6A3D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DAEA4FB-559A-4E87-B8C3-5381DD036211}"/>
              </a:ext>
            </a:extLst>
          </p:cNvPr>
          <p:cNvSpPr txBox="1"/>
          <p:nvPr userDrawn="1"/>
        </p:nvSpPr>
        <p:spPr>
          <a:xfrm>
            <a:off x="647585" y="3817993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389891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F1001C-7C11-475C-A8E5-B2FB6BBA7587}"/>
              </a:ext>
            </a:extLst>
          </p:cNvPr>
          <p:cNvSpPr txBox="1"/>
          <p:nvPr userDrawn="1"/>
        </p:nvSpPr>
        <p:spPr>
          <a:xfrm>
            <a:off x="647585" y="4737836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C04442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C17F5BE-6521-4D50-B74A-BB82D4BDB0E6}"/>
              </a:ext>
            </a:extLst>
          </p:cNvPr>
          <p:cNvSpPr txBox="1"/>
          <p:nvPr userDrawn="1"/>
        </p:nvSpPr>
        <p:spPr>
          <a:xfrm>
            <a:off x="647585" y="5657679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EDB109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2C5970-21E3-4547-A787-57DB39A5A23F}"/>
              </a:ext>
            </a:extLst>
          </p:cNvPr>
          <p:cNvSpPr/>
          <p:nvPr userDrawn="1"/>
        </p:nvSpPr>
        <p:spPr>
          <a:xfrm>
            <a:off x="5546472" y="5436178"/>
            <a:ext cx="720000" cy="720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756BC1D0-7104-4A5C-8A95-EB0F25D156C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666409453"/>
              </p:ext>
            </p:extLst>
          </p:nvPr>
        </p:nvGraphicFramePr>
        <p:xfrm>
          <a:off x="6645529" y="1061821"/>
          <a:ext cx="5095078" cy="4734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9" name="TextBox 38">
            <a:extLst>
              <a:ext uri="{FF2B5EF4-FFF2-40B4-BE49-F238E27FC236}">
                <a16:creationId xmlns:a16="http://schemas.microsoft.com/office/drawing/2014/main" id="{6ADFC6CC-78AB-4E50-A1BF-72E311A88001}"/>
              </a:ext>
            </a:extLst>
          </p:cNvPr>
          <p:cNvSpPr txBox="1"/>
          <p:nvPr userDrawn="1"/>
        </p:nvSpPr>
        <p:spPr>
          <a:xfrm>
            <a:off x="9409674" y="367112"/>
            <a:ext cx="10688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>
                <a:solidFill>
                  <a:schemeClr val="bg1"/>
                </a:solidFill>
                <a:latin typeface="Abadi Extra Light" panose="020B0204020104020204" pitchFamily="34" charset="0"/>
              </a:rPr>
              <a:t>Colors are used in this order</a:t>
            </a:r>
            <a:endParaRPr lang="en-DK" sz="1200">
              <a:solidFill>
                <a:schemeClr val="bg1"/>
              </a:solidFill>
              <a:latin typeface="Abadi Extra Light" panose="020B0204020104020204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3D19DF7-3E0E-46AF-8747-74D4463FB3C6}"/>
              </a:ext>
            </a:extLst>
          </p:cNvPr>
          <p:cNvSpPr/>
          <p:nvPr userDrawn="1"/>
        </p:nvSpPr>
        <p:spPr>
          <a:xfrm rot="2503230" flipH="1">
            <a:off x="8473966" y="1137756"/>
            <a:ext cx="3406215" cy="2235099"/>
          </a:xfrm>
          <a:prstGeom prst="arc">
            <a:avLst>
              <a:gd name="adj1" fmla="val 12292558"/>
              <a:gd name="adj2" fmla="val 19152424"/>
            </a:avLst>
          </a:prstGeom>
          <a:ln w="12700">
            <a:headEnd type="stealth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7100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u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8916A7-251E-4D06-9C9F-C64516B8B4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5296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FD20B-06EC-4F1F-8964-C37C8BE89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3D1646-298C-464A-A5D2-94394E87A49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86104" y="2375466"/>
            <a:ext cx="5809896" cy="2107068"/>
            <a:chOff x="-29481" y="4667250"/>
            <a:chExt cx="5473123" cy="1984932"/>
          </a:xfrm>
        </p:grpSpPr>
        <p:pic>
          <p:nvPicPr>
            <p:cNvPr id="4" name="Picture 3" descr="Logo&#10;&#10;Description automatically generated">
              <a:extLst>
                <a:ext uri="{FF2B5EF4-FFF2-40B4-BE49-F238E27FC236}">
                  <a16:creationId xmlns:a16="http://schemas.microsoft.com/office/drawing/2014/main" id="{E3E2C2EE-3A1B-4230-823B-B3FB5EF9B5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83855" y="4667250"/>
              <a:ext cx="4759787" cy="1984932"/>
            </a:xfrm>
            <a:prstGeom prst="rect">
              <a:avLst/>
            </a:prstGeom>
          </p:spPr>
        </p:pic>
        <p:pic>
          <p:nvPicPr>
            <p:cNvPr id="5" name="Picture 4" descr="A picture containing linedrawing&#10;&#10;Description automatically generated">
              <a:extLst>
                <a:ext uri="{FF2B5EF4-FFF2-40B4-BE49-F238E27FC236}">
                  <a16:creationId xmlns:a16="http://schemas.microsoft.com/office/drawing/2014/main" id="{A812DAEB-1372-4D48-86E9-A4ABFA2A67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9481" y="5042247"/>
              <a:ext cx="1282119" cy="1168051"/>
            </a:xfrm>
            <a:prstGeom prst="rect">
              <a:avLst/>
            </a:prstGeom>
          </p:spPr>
        </p:pic>
      </p:grpSp>
      <p:sp>
        <p:nvSpPr>
          <p:cNvPr id="6" name="Rektangel 10">
            <a:extLst>
              <a:ext uri="{FF2B5EF4-FFF2-40B4-BE49-F238E27FC236}">
                <a16:creationId xmlns:a16="http://schemas.microsoft.com/office/drawing/2014/main" id="{3D78800F-1B78-4745-AC18-B6EA79A8C62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243B59C-95F4-4D80-9AC3-53BCA0EB9B69}"/>
              </a:ext>
            </a:extLst>
          </p:cNvPr>
          <p:cNvGrpSpPr/>
          <p:nvPr userDrawn="1"/>
        </p:nvGrpSpPr>
        <p:grpSpPr>
          <a:xfrm>
            <a:off x="6441345" y="2375466"/>
            <a:ext cx="5464551" cy="1984932"/>
            <a:chOff x="-29481" y="4667250"/>
            <a:chExt cx="5464551" cy="198493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2D92688-E04E-4FD3-A03A-6471D24ED4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98145" y="4667250"/>
              <a:ext cx="4736925" cy="1984932"/>
            </a:xfrm>
            <a:prstGeom prst="rect">
              <a:avLst/>
            </a:prstGeom>
          </p:spPr>
        </p:pic>
        <p:pic>
          <p:nvPicPr>
            <p:cNvPr id="9" name="Picture 8" descr="Shape, background pattern&#10;&#10;Description automatically generated">
              <a:extLst>
                <a:ext uri="{FF2B5EF4-FFF2-40B4-BE49-F238E27FC236}">
                  <a16:creationId xmlns:a16="http://schemas.microsoft.com/office/drawing/2014/main" id="{CB795BDB-61B4-495E-8097-B954B52017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6341" b="94023" l="9901" r="89989">
                          <a14:foregroundMark x1="23114" y1="13489" x2="45896" y2="6745"/>
                          <a14:foregroundMark x1="45896" y1="6745" x2="39971" y2="17003"/>
                          <a14:foregroundMark x1="39971" y1="17003" x2="37284" y2="29564"/>
                          <a14:foregroundMark x1="37284" y1="29564" x2="27126" y2="34733"/>
                          <a14:foregroundMark x1="27126" y1="34733" x2="19764" y2="25444"/>
                          <a14:foregroundMark x1="19764" y1="25444" x2="26941" y2="15186"/>
                          <a14:foregroundMark x1="26941" y1="15186" x2="27641" y2="12843"/>
                          <a14:foregroundMark x1="45050" y1="90549" x2="56643" y2="89903"/>
                          <a14:foregroundMark x1="56643" y1="89903" x2="69120" y2="90711"/>
                          <a14:foregroundMark x1="69120" y1="90711" x2="74457" y2="90549"/>
                          <a14:foregroundMark x1="11815" y1="57270" x2="11152" y2="61793"/>
                          <a14:foregroundMark x1="16415" y1="48708" x2="12035" y2="57876"/>
                          <a14:foregroundMark x1="18035" y1="46486" x2="15974" y2="49677"/>
                          <a14:foregroundMark x1="15090" y1="50162" x2="15090" y2="50162"/>
                          <a14:foregroundMark x1="14833" y1="50525" x2="14833" y2="50525"/>
                          <a14:foregroundMark x1="14391" y1="51050" x2="14391" y2="51050"/>
                          <a14:foregroundMark x1="15421" y1="49192" x2="15421" y2="49192"/>
                          <a14:foregroundMark x1="16783" y1="47254" x2="16783" y2="47254"/>
                          <a14:foregroundMark x1="16121" y1="48061" x2="16121" y2="48061"/>
                          <a14:foregroundMark x1="15974" y1="48546" x2="15974" y2="48546"/>
                          <a14:foregroundMark x1="11815" y1="56664" x2="11815" y2="56664"/>
                          <a14:foregroundMark x1="13176" y1="53473" x2="13176" y2="53473"/>
                          <a14:foregroundMark x1="54545" y1="94023" x2="54545" y2="94023"/>
                          <a14:foregroundMark x1="74678" y1="21890" x2="80788" y2="19386"/>
                          <a14:foregroundMark x1="65513" y1="6704" x2="76555" y2="6341"/>
                          <a14:foregroundMark x1="76555" y1="6341" x2="78395" y2="7108"/>
                          <a14:backgroundMark x1="46191" y1="11834" x2="46191" y2="1183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9481" y="5042248"/>
              <a:ext cx="1282119" cy="11680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14326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05723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85D91C1-C4BA-47F4-AC7A-407AFB86FB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2385" y="6205098"/>
            <a:ext cx="2017954" cy="460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6805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chem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5BC61D-C9E0-47A1-B72A-C091C60EA585}"/>
              </a:ext>
            </a:extLst>
          </p:cNvPr>
          <p:cNvSpPr/>
          <p:nvPr userDrawn="1"/>
        </p:nvSpPr>
        <p:spPr>
          <a:xfrm>
            <a:off x="1746832" y="836964"/>
            <a:ext cx="720000" cy="7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AC8D1D6-FEB8-419B-98AB-DAAEE691644B}"/>
              </a:ext>
            </a:extLst>
          </p:cNvPr>
          <p:cNvSpPr/>
          <p:nvPr userDrawn="1"/>
        </p:nvSpPr>
        <p:spPr>
          <a:xfrm>
            <a:off x="2696742" y="836964"/>
            <a:ext cx="720000" cy="7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9DC4D6-097F-4191-976D-C94EB1786801}"/>
              </a:ext>
            </a:extLst>
          </p:cNvPr>
          <p:cNvSpPr/>
          <p:nvPr userDrawn="1"/>
        </p:nvSpPr>
        <p:spPr>
          <a:xfrm>
            <a:off x="3646652" y="836964"/>
            <a:ext cx="720000" cy="72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3529D24-56E9-413D-8F32-0FD4D9A68C82}"/>
              </a:ext>
            </a:extLst>
          </p:cNvPr>
          <p:cNvSpPr/>
          <p:nvPr userDrawn="1"/>
        </p:nvSpPr>
        <p:spPr>
          <a:xfrm>
            <a:off x="4596562" y="836964"/>
            <a:ext cx="72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E05212-11A7-449F-A107-A4750FA5CCE9}"/>
              </a:ext>
            </a:extLst>
          </p:cNvPr>
          <p:cNvSpPr/>
          <p:nvPr userDrawn="1"/>
        </p:nvSpPr>
        <p:spPr>
          <a:xfrm>
            <a:off x="5546472" y="836964"/>
            <a:ext cx="720000" cy="72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E972C6-8747-43A8-800D-42D4D90F95AC}"/>
              </a:ext>
            </a:extLst>
          </p:cNvPr>
          <p:cNvSpPr/>
          <p:nvPr userDrawn="1"/>
        </p:nvSpPr>
        <p:spPr>
          <a:xfrm>
            <a:off x="1746832" y="1756807"/>
            <a:ext cx="720000" cy="7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11D6B7-DB08-4C78-8B6E-808AE398C811}"/>
              </a:ext>
            </a:extLst>
          </p:cNvPr>
          <p:cNvSpPr/>
          <p:nvPr userDrawn="1"/>
        </p:nvSpPr>
        <p:spPr>
          <a:xfrm>
            <a:off x="2696742" y="1756807"/>
            <a:ext cx="720000" cy="72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B25053-5AF3-422D-B437-E3991D2483BD}"/>
              </a:ext>
            </a:extLst>
          </p:cNvPr>
          <p:cNvSpPr/>
          <p:nvPr userDrawn="1"/>
        </p:nvSpPr>
        <p:spPr>
          <a:xfrm>
            <a:off x="3646652" y="1756807"/>
            <a:ext cx="720000" cy="72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1F11AB4-BDAB-4D4C-A889-C96058647AC3}"/>
              </a:ext>
            </a:extLst>
          </p:cNvPr>
          <p:cNvSpPr/>
          <p:nvPr userDrawn="1"/>
        </p:nvSpPr>
        <p:spPr>
          <a:xfrm>
            <a:off x="4596562" y="1756807"/>
            <a:ext cx="720000" cy="72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E7FE399-C254-4881-A321-97AD3226B49B}"/>
              </a:ext>
            </a:extLst>
          </p:cNvPr>
          <p:cNvSpPr/>
          <p:nvPr userDrawn="1"/>
        </p:nvSpPr>
        <p:spPr>
          <a:xfrm>
            <a:off x="5546472" y="1756807"/>
            <a:ext cx="720000" cy="72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03BBF4-1184-4ACD-BE6F-AE6198327DD1}"/>
              </a:ext>
            </a:extLst>
          </p:cNvPr>
          <p:cNvSpPr/>
          <p:nvPr userDrawn="1"/>
        </p:nvSpPr>
        <p:spPr>
          <a:xfrm>
            <a:off x="1746832" y="2676650"/>
            <a:ext cx="720000" cy="7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670AEB-2E77-402F-AF2E-D83306E4C3AA}"/>
              </a:ext>
            </a:extLst>
          </p:cNvPr>
          <p:cNvSpPr/>
          <p:nvPr userDrawn="1"/>
        </p:nvSpPr>
        <p:spPr>
          <a:xfrm>
            <a:off x="2696742" y="2676650"/>
            <a:ext cx="720000" cy="72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3A05373-2CE7-4500-ABB9-55153530168E}"/>
              </a:ext>
            </a:extLst>
          </p:cNvPr>
          <p:cNvSpPr/>
          <p:nvPr userDrawn="1"/>
        </p:nvSpPr>
        <p:spPr>
          <a:xfrm>
            <a:off x="3646652" y="2676650"/>
            <a:ext cx="720000" cy="72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0D21FA-3A37-4B97-8915-9D4CA4DE4915}"/>
              </a:ext>
            </a:extLst>
          </p:cNvPr>
          <p:cNvSpPr/>
          <p:nvPr userDrawn="1"/>
        </p:nvSpPr>
        <p:spPr>
          <a:xfrm>
            <a:off x="4596562" y="2676650"/>
            <a:ext cx="720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2044F6E-BED8-43D0-9997-7371C8875190}"/>
              </a:ext>
            </a:extLst>
          </p:cNvPr>
          <p:cNvSpPr/>
          <p:nvPr userDrawn="1"/>
        </p:nvSpPr>
        <p:spPr>
          <a:xfrm>
            <a:off x="5546472" y="2676650"/>
            <a:ext cx="720000" cy="720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5970C2-00C6-4315-B9EE-984A41449D60}"/>
              </a:ext>
            </a:extLst>
          </p:cNvPr>
          <p:cNvSpPr/>
          <p:nvPr userDrawn="1"/>
        </p:nvSpPr>
        <p:spPr>
          <a:xfrm>
            <a:off x="1746832" y="3596493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9F72527-470C-44D8-9855-4619796B7BB5}"/>
              </a:ext>
            </a:extLst>
          </p:cNvPr>
          <p:cNvSpPr/>
          <p:nvPr userDrawn="1"/>
        </p:nvSpPr>
        <p:spPr>
          <a:xfrm>
            <a:off x="2696742" y="3596493"/>
            <a:ext cx="720000" cy="72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007DFDD-D638-45F7-AF04-A8FB872172BE}"/>
              </a:ext>
            </a:extLst>
          </p:cNvPr>
          <p:cNvSpPr/>
          <p:nvPr userDrawn="1"/>
        </p:nvSpPr>
        <p:spPr>
          <a:xfrm>
            <a:off x="3646652" y="3596493"/>
            <a:ext cx="720000" cy="72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E9AB0CE-EA61-4AB9-9AD5-99657BC8BCBA}"/>
              </a:ext>
            </a:extLst>
          </p:cNvPr>
          <p:cNvSpPr/>
          <p:nvPr userDrawn="1"/>
        </p:nvSpPr>
        <p:spPr>
          <a:xfrm>
            <a:off x="4596562" y="3596493"/>
            <a:ext cx="720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F6A3C0-2D92-4162-B0BE-2ACF9C097B9A}"/>
              </a:ext>
            </a:extLst>
          </p:cNvPr>
          <p:cNvSpPr/>
          <p:nvPr userDrawn="1"/>
        </p:nvSpPr>
        <p:spPr>
          <a:xfrm>
            <a:off x="5546472" y="3596493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35BDCA7-A125-40F4-971C-E02701A51613}"/>
              </a:ext>
            </a:extLst>
          </p:cNvPr>
          <p:cNvSpPr/>
          <p:nvPr userDrawn="1"/>
        </p:nvSpPr>
        <p:spPr>
          <a:xfrm>
            <a:off x="1746832" y="4516336"/>
            <a:ext cx="720000" cy="72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978776-7D3A-4ECB-B3E6-F87602BC17EC}"/>
              </a:ext>
            </a:extLst>
          </p:cNvPr>
          <p:cNvSpPr/>
          <p:nvPr userDrawn="1"/>
        </p:nvSpPr>
        <p:spPr>
          <a:xfrm>
            <a:off x="2696742" y="4516336"/>
            <a:ext cx="720000" cy="72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EE673E-9AD5-437E-A80B-D76A14CC5A87}"/>
              </a:ext>
            </a:extLst>
          </p:cNvPr>
          <p:cNvSpPr/>
          <p:nvPr userDrawn="1"/>
        </p:nvSpPr>
        <p:spPr>
          <a:xfrm>
            <a:off x="3646652" y="4516336"/>
            <a:ext cx="720000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FE016D0-9D3C-4801-AA99-C3425937F7AC}"/>
              </a:ext>
            </a:extLst>
          </p:cNvPr>
          <p:cNvSpPr/>
          <p:nvPr userDrawn="1"/>
        </p:nvSpPr>
        <p:spPr>
          <a:xfrm>
            <a:off x="4596562" y="4516336"/>
            <a:ext cx="720000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D880233-403C-4B3D-B543-192068E910C9}"/>
              </a:ext>
            </a:extLst>
          </p:cNvPr>
          <p:cNvSpPr/>
          <p:nvPr userDrawn="1"/>
        </p:nvSpPr>
        <p:spPr>
          <a:xfrm>
            <a:off x="5546472" y="4516336"/>
            <a:ext cx="720000" cy="72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58B316F-944D-43FB-9FCD-87B06B1C62C6}"/>
              </a:ext>
            </a:extLst>
          </p:cNvPr>
          <p:cNvSpPr/>
          <p:nvPr userDrawn="1"/>
        </p:nvSpPr>
        <p:spPr>
          <a:xfrm>
            <a:off x="1746832" y="5436179"/>
            <a:ext cx="720000" cy="72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E6271E4-723A-4DC8-8AE1-3D85163B9B49}"/>
              </a:ext>
            </a:extLst>
          </p:cNvPr>
          <p:cNvSpPr/>
          <p:nvPr userDrawn="1"/>
        </p:nvSpPr>
        <p:spPr>
          <a:xfrm>
            <a:off x="2696742" y="5436179"/>
            <a:ext cx="720000" cy="720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35B5A1B-7074-4ACA-AA73-CF24E4758E66}"/>
              </a:ext>
            </a:extLst>
          </p:cNvPr>
          <p:cNvSpPr/>
          <p:nvPr userDrawn="1"/>
        </p:nvSpPr>
        <p:spPr>
          <a:xfrm>
            <a:off x="3646652" y="5436179"/>
            <a:ext cx="720000" cy="72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383959-987D-4FA4-8B88-831EA08AE8E7}"/>
              </a:ext>
            </a:extLst>
          </p:cNvPr>
          <p:cNvSpPr/>
          <p:nvPr userDrawn="1"/>
        </p:nvSpPr>
        <p:spPr>
          <a:xfrm>
            <a:off x="4596562" y="5436179"/>
            <a:ext cx="720000" cy="72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AD48CA-3728-4DF9-8416-3EAEE53052BB}"/>
              </a:ext>
            </a:extLst>
          </p:cNvPr>
          <p:cNvSpPr txBox="1"/>
          <p:nvPr userDrawn="1"/>
        </p:nvSpPr>
        <p:spPr>
          <a:xfrm>
            <a:off x="647585" y="1057400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307C98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9B15187-694D-4164-B47E-6896AE89727B}"/>
              </a:ext>
            </a:extLst>
          </p:cNvPr>
          <p:cNvSpPr txBox="1"/>
          <p:nvPr userDrawn="1"/>
        </p:nvSpPr>
        <p:spPr>
          <a:xfrm>
            <a:off x="647585" y="1978307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684470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344D532-AC73-4F12-B32E-90E267A89149}"/>
              </a:ext>
            </a:extLst>
          </p:cNvPr>
          <p:cNvSpPr txBox="1"/>
          <p:nvPr userDrawn="1"/>
        </p:nvSpPr>
        <p:spPr>
          <a:xfrm>
            <a:off x="650911" y="2898150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3A6A3D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DAEA4FB-559A-4E87-B8C3-5381DD036211}"/>
              </a:ext>
            </a:extLst>
          </p:cNvPr>
          <p:cNvSpPr txBox="1"/>
          <p:nvPr userDrawn="1"/>
        </p:nvSpPr>
        <p:spPr>
          <a:xfrm>
            <a:off x="647585" y="3817993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389891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F1001C-7C11-475C-A8E5-B2FB6BBA7587}"/>
              </a:ext>
            </a:extLst>
          </p:cNvPr>
          <p:cNvSpPr txBox="1"/>
          <p:nvPr userDrawn="1"/>
        </p:nvSpPr>
        <p:spPr>
          <a:xfrm>
            <a:off x="647585" y="4737836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C04442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C17F5BE-6521-4D50-B74A-BB82D4BDB0E6}"/>
              </a:ext>
            </a:extLst>
          </p:cNvPr>
          <p:cNvSpPr txBox="1"/>
          <p:nvPr userDrawn="1"/>
        </p:nvSpPr>
        <p:spPr>
          <a:xfrm>
            <a:off x="647585" y="5657679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EDB109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2C5970-21E3-4547-A787-57DB39A5A23F}"/>
              </a:ext>
            </a:extLst>
          </p:cNvPr>
          <p:cNvSpPr/>
          <p:nvPr userDrawn="1"/>
        </p:nvSpPr>
        <p:spPr>
          <a:xfrm>
            <a:off x="5546472" y="5436178"/>
            <a:ext cx="720000" cy="720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756BC1D0-7104-4A5C-8A95-EB0F25D156C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141838977"/>
              </p:ext>
            </p:extLst>
          </p:nvPr>
        </p:nvGraphicFramePr>
        <p:xfrm>
          <a:off x="6645529" y="1061821"/>
          <a:ext cx="5095078" cy="4734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9" name="TextBox 38">
            <a:extLst>
              <a:ext uri="{FF2B5EF4-FFF2-40B4-BE49-F238E27FC236}">
                <a16:creationId xmlns:a16="http://schemas.microsoft.com/office/drawing/2014/main" id="{6ADFC6CC-78AB-4E50-A1BF-72E311A88001}"/>
              </a:ext>
            </a:extLst>
          </p:cNvPr>
          <p:cNvSpPr txBox="1"/>
          <p:nvPr userDrawn="1"/>
        </p:nvSpPr>
        <p:spPr>
          <a:xfrm>
            <a:off x="9409674" y="367112"/>
            <a:ext cx="10688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Colors are used in this order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3D19DF7-3E0E-46AF-8747-74D4463FB3C6}"/>
              </a:ext>
            </a:extLst>
          </p:cNvPr>
          <p:cNvSpPr/>
          <p:nvPr userDrawn="1"/>
        </p:nvSpPr>
        <p:spPr>
          <a:xfrm rot="2503230" flipH="1">
            <a:off x="8473966" y="1137756"/>
            <a:ext cx="3406215" cy="2235099"/>
          </a:xfrm>
          <a:prstGeom prst="arc">
            <a:avLst>
              <a:gd name="adj1" fmla="val 12292558"/>
              <a:gd name="adj2" fmla="val 19152424"/>
            </a:avLst>
          </a:prstGeom>
          <a:ln w="12700">
            <a:headEnd type="stealth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K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BBB1DD3-36A2-478F-BD79-DE4C30B2EBC8}"/>
              </a:ext>
            </a:extLst>
          </p:cNvPr>
          <p:cNvSpPr txBox="1"/>
          <p:nvPr userDrawn="1"/>
        </p:nvSpPr>
        <p:spPr>
          <a:xfrm>
            <a:off x="6627348" y="513798"/>
            <a:ext cx="1068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Logo color: </a:t>
            </a:r>
          </a:p>
          <a:p>
            <a:pPr algn="l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245D72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42" name="Arc 41">
            <a:extLst>
              <a:ext uri="{FF2B5EF4-FFF2-40B4-BE49-F238E27FC236}">
                <a16:creationId xmlns:a16="http://schemas.microsoft.com/office/drawing/2014/main" id="{7E500BB0-0196-4C20-A620-DB08FDE76D4B}"/>
              </a:ext>
            </a:extLst>
          </p:cNvPr>
          <p:cNvSpPr/>
          <p:nvPr userDrawn="1"/>
        </p:nvSpPr>
        <p:spPr>
          <a:xfrm rot="7976754" flipH="1">
            <a:off x="6247575" y="673918"/>
            <a:ext cx="796373" cy="719017"/>
          </a:xfrm>
          <a:prstGeom prst="arc">
            <a:avLst>
              <a:gd name="adj1" fmla="val 12292558"/>
              <a:gd name="adj2" fmla="val 19152424"/>
            </a:avLst>
          </a:prstGeom>
          <a:ln w="12700">
            <a:headEnd type="stealth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K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2360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s sim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33715" y="2452914"/>
            <a:ext cx="4412344" cy="3033486"/>
          </a:xfrm>
          <a:prstGeom prst="rect">
            <a:avLst/>
          </a:prstGeom>
          <a:solidFill>
            <a:srgbClr val="ECECEC"/>
          </a:solidFill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3714" y="786040"/>
            <a:ext cx="9840686" cy="1325563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F65CEE2-416F-4F3C-82DE-BD62D02687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45941" y="2452912"/>
            <a:ext cx="4412344" cy="3033487"/>
          </a:xfrm>
          <a:prstGeom prst="rect">
            <a:avLst/>
          </a:prstGeom>
          <a:solidFill>
            <a:srgbClr val="ECECEC"/>
          </a:solidFill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B885024-7124-433D-A541-B45BD3021C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015784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6190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left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9A984518-95E4-48F8-998D-1259AF346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279207" y="798285"/>
            <a:ext cx="5544001" cy="578394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D55C55F-E3CF-4585-985D-B57E196330D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D4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C5DE5A1-24B8-49DF-A7DF-510C6FFB54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673" y="6006239"/>
            <a:ext cx="2018852" cy="845968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24262" y="1432295"/>
            <a:ext cx="4093029" cy="4281714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023" y="1745487"/>
            <a:ext cx="3801438" cy="3655331"/>
          </a:xfrm>
          <a:prstGeom prst="rect">
            <a:avLst/>
          </a:prstGeom>
        </p:spPr>
        <p:txBody>
          <a:bodyPr anchor="ctr"/>
          <a:lstStyle>
            <a:lvl1pPr algn="l">
              <a:defRPr sz="3600" b="0" spc="0">
                <a:solidFill>
                  <a:schemeClr val="tx1"/>
                </a:solidFill>
                <a:latin typeface="Arial Black" panose="020B0A04020102020204" pitchFamily="34" charset="0"/>
                <a:cs typeface="Aharoni" panose="020B0604020202020204" pitchFamily="2" charset="-79"/>
              </a:defRPr>
            </a:lvl1pPr>
          </a:lstStyle>
          <a:p>
            <a:r>
              <a:rPr lang="en-US"/>
              <a:t>Write the conclusion in the HEADLINE</a:t>
            </a:r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4235089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right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D4C917FF-B670-4355-A42E-A0168EECB7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6133906" y="537029"/>
            <a:ext cx="5544001" cy="5783942"/>
          </a:xfrm>
          <a:prstGeom prst="rect">
            <a:avLst/>
          </a:prstGeom>
        </p:spPr>
      </p:pic>
      <p:sp>
        <p:nvSpPr>
          <p:cNvPr id="9" name="Pladsholder til tekst 19" descr="Her skal der ikke være nogen tekst!">
            <a:extLst>
              <a:ext uri="{FF2B5EF4-FFF2-40B4-BE49-F238E27FC236}">
                <a16:creationId xmlns:a16="http://schemas.microsoft.com/office/drawing/2014/main" id="{31DCE5CF-33BF-4733-8461-CCC560672622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861114" y="6926"/>
            <a:ext cx="6089586" cy="6858000"/>
          </a:xfrm>
          <a:prstGeom prst="rect">
            <a:avLst/>
          </a:prstGeom>
          <a:solidFill>
            <a:schemeClr val="accent4">
              <a:lumMod val="75000"/>
              <a:alpha val="74902"/>
            </a:schemeClr>
          </a:solidFill>
        </p:spPr>
        <p:txBody>
          <a:bodyPr/>
          <a:lstStyle>
            <a:lvl1pPr>
              <a:buNone/>
              <a:defRPr>
                <a:noFill/>
              </a:defRPr>
            </a:lvl1pPr>
          </a:lstStyle>
          <a:p>
            <a:pPr lvl="0"/>
            <a:r>
              <a:rPr lang="en-GB"/>
              <a:t>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0228" y="1288143"/>
            <a:ext cx="4093029" cy="4281714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0772" y="1608260"/>
            <a:ext cx="3801438" cy="3655331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r>
              <a:rPr lang="en-US"/>
              <a:t>Write the conclusion in the title</a:t>
            </a:r>
            <a:endParaRPr lang="en-DK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B18D191F-0D71-42A3-ACCD-C3773BA9A9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15784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1530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299F692-F911-40A0-B72F-7EDA68EB24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63147" y="3711342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23857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HEADLINE</a:t>
            </a:r>
            <a:endParaRPr lang="en-DK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1" y="3711343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55539" y="3711341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19001505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299F692-F911-40A0-B72F-7EDA68EB24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3147" y="3567288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7601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HEADLINE</a:t>
            </a:r>
            <a:endParaRPr lang="en-DK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1731" y="3567289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5539" y="3567286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5AED717-B16A-4324-BC41-C4DA2CFD4F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11731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 b="0">
                <a:solidFill>
                  <a:schemeClr val="bg1"/>
                </a:solidFill>
                <a:latin typeface="Arial Nova Light" panose="020B0304020202020204" pitchFamily="34" charset="0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1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443DDD9-2309-4596-9171-8AB0F0409E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63147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6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2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220C212-601B-42D2-ABA5-C5EA03F4F4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55539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6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</a:pPr>
            <a:r>
              <a:rPr lang="en-US" dirty="0"/>
              <a:t>Title 3</a:t>
            </a:r>
          </a:p>
        </p:txBody>
      </p:sp>
    </p:spTree>
    <p:extLst>
      <p:ext uri="{BB962C8B-B14F-4D97-AF65-F5344CB8AC3E}">
        <p14:creationId xmlns:p14="http://schemas.microsoft.com/office/powerpoint/2010/main" val="10285918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23857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HEADLINE</a:t>
            </a:r>
            <a:endParaRPr lang="en-DK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0" y="3711343"/>
            <a:ext cx="4016625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3644" y="3711341"/>
            <a:ext cx="4016625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34674365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 - plu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7FD027C-04B1-46DF-8E28-FC06DE97AD81}"/>
              </a:ext>
            </a:extLst>
          </p:cNvPr>
          <p:cNvSpPr/>
          <p:nvPr userDrawn="1"/>
        </p:nvSpPr>
        <p:spPr>
          <a:xfrm>
            <a:off x="147600" y="146776"/>
            <a:ext cx="11896800" cy="657307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100000"/>
                </a:schemeClr>
              </a:gs>
              <a:gs pos="23000">
                <a:schemeClr val="accent2">
                  <a:lumMod val="95000"/>
                </a:schemeClr>
              </a:gs>
              <a:gs pos="69000">
                <a:schemeClr val="accent2">
                  <a:lumMod val="80000"/>
                </a:schemeClr>
              </a:gs>
              <a:gs pos="97000">
                <a:schemeClr val="accent2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57300" y="2588518"/>
            <a:ext cx="7729728" cy="1439999"/>
          </a:xfrm>
          <a:prstGeom prst="rect">
            <a:avLst/>
          </a:prstGeom>
          <a:noFill/>
          <a:ln>
            <a:noFill/>
          </a:ln>
        </p:spPr>
        <p:txBody>
          <a:bodyPr lIns="360000" tIns="180000" bIns="180000" anchor="ctr"/>
          <a:lstStyle>
            <a:lvl1pPr algn="l">
              <a:defRPr sz="3600" b="0" spc="600">
                <a:latin typeface="Abadi Extra Light" panose="020B0204020104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GB"/>
              <a:t>SECTION break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B4B421-6740-44FC-A2F4-2BA5FAA5E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811D2E7-AD47-45B0-9314-A33B6961FD44}"/>
              </a:ext>
            </a:extLst>
          </p:cNvPr>
          <p:cNvSpPr>
            <a:spLocks noChangeAspect="1"/>
          </p:cNvSpPr>
          <p:nvPr userDrawn="1"/>
        </p:nvSpPr>
        <p:spPr>
          <a:xfrm>
            <a:off x="295200" y="2777468"/>
            <a:ext cx="1062100" cy="10621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6683283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7601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HEADLINE</a:t>
            </a:r>
            <a:endParaRPr lang="en-DK" dirty="0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5AED717-B16A-4324-BC41-C4DA2CFD4F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11731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 b="0">
                <a:solidFill>
                  <a:schemeClr val="bg1"/>
                </a:solidFill>
                <a:latin typeface="Arial Nova Light" panose="020B0304020202020204" pitchFamily="34" charset="0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1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443DDD9-2309-4596-9171-8AB0F0409E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3644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6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2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83FB63DD-EE39-4965-B538-D03BA5D095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0" y="3612445"/>
            <a:ext cx="4016625" cy="2210130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54FEC322-A3EE-43EC-BA05-D491EBEC6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3644" y="3612443"/>
            <a:ext cx="4016625" cy="2210130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408525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 - gree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1CB9EB0-2062-45BE-8D90-7BA3BA8BFD94}"/>
              </a:ext>
            </a:extLst>
          </p:cNvPr>
          <p:cNvSpPr/>
          <p:nvPr userDrawn="1"/>
        </p:nvSpPr>
        <p:spPr>
          <a:xfrm>
            <a:off x="147600" y="146776"/>
            <a:ext cx="11888266" cy="6573074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90000"/>
                  <a:lumOff val="10000"/>
                </a:schemeClr>
              </a:gs>
              <a:gs pos="23000">
                <a:schemeClr val="accent4">
                  <a:lumMod val="95000"/>
                  <a:lumOff val="5000"/>
                </a:schemeClr>
              </a:gs>
              <a:gs pos="69000">
                <a:schemeClr val="accent4">
                  <a:lumMod val="95000"/>
                </a:schemeClr>
              </a:gs>
              <a:gs pos="97000">
                <a:schemeClr val="accent4">
                  <a:lumMod val="9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57300" y="2588518"/>
            <a:ext cx="7729728" cy="1439999"/>
          </a:xfrm>
          <a:prstGeom prst="rect">
            <a:avLst/>
          </a:prstGeom>
          <a:noFill/>
          <a:ln>
            <a:noFill/>
          </a:ln>
        </p:spPr>
        <p:txBody>
          <a:bodyPr lIns="360000" tIns="180000" bIns="180000" anchor="ctr"/>
          <a:lstStyle>
            <a:lvl1pPr algn="l">
              <a:defRPr sz="3600" b="0" spc="600">
                <a:latin typeface="Abadi Extra Light" panose="020B0204020104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GB"/>
              <a:t>SECTION break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B4B421-6740-44FC-A2F4-2BA5FAA5E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811D2E7-AD47-45B0-9314-A33B6961FD44}"/>
              </a:ext>
            </a:extLst>
          </p:cNvPr>
          <p:cNvSpPr>
            <a:spLocks noChangeAspect="1"/>
          </p:cNvSpPr>
          <p:nvPr userDrawn="1"/>
        </p:nvSpPr>
        <p:spPr>
          <a:xfrm>
            <a:off x="295200" y="2777468"/>
            <a:ext cx="1062100" cy="10621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824227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ll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618B0FC3-6F4D-43B0-90DF-77518936C7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6" r="7876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3" name="Rektangel 6">
            <a:extLst>
              <a:ext uri="{FF2B5EF4-FFF2-40B4-BE49-F238E27FC236}">
                <a16:creationId xmlns:a16="http://schemas.microsoft.com/office/drawing/2014/main" id="{DC32CBD6-0272-4E1B-9B6B-1B3A7C1EB060}"/>
              </a:ext>
            </a:extLst>
          </p:cNvPr>
          <p:cNvSpPr/>
          <p:nvPr userDrawn="1"/>
        </p:nvSpPr>
        <p:spPr>
          <a:xfrm>
            <a:off x="0" y="0"/>
            <a:ext cx="11950700" cy="6858000"/>
          </a:xfrm>
          <a:prstGeom prst="rect">
            <a:avLst/>
          </a:prstGeom>
          <a:solidFill>
            <a:srgbClr val="2D4F7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ktangel 10">
            <a:extLst>
              <a:ext uri="{FF2B5EF4-FFF2-40B4-BE49-F238E27FC236}">
                <a16:creationId xmlns:a16="http://schemas.microsoft.com/office/drawing/2014/main" id="{8D08338F-98D0-47A6-9FAE-B7EAA88ED3BB}"/>
              </a:ext>
            </a:extLst>
          </p:cNvPr>
          <p:cNvSpPr/>
          <p:nvPr userDrawn="1"/>
        </p:nvSpPr>
        <p:spPr>
          <a:xfrm>
            <a:off x="11950700" y="0"/>
            <a:ext cx="2413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Titel 20">
            <a:extLst>
              <a:ext uri="{FF2B5EF4-FFF2-40B4-BE49-F238E27FC236}">
                <a16:creationId xmlns:a16="http://schemas.microsoft.com/office/drawing/2014/main" id="{EDB97603-EAAA-4CE3-816C-CA1B45FAC3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6494" y="1704622"/>
            <a:ext cx="7094106" cy="1894920"/>
          </a:xfrm>
          <a:prstGeom prst="rect">
            <a:avLst/>
          </a:prstGeom>
        </p:spPr>
        <p:txBody>
          <a:bodyPr>
            <a:noAutofit/>
          </a:bodyPr>
          <a:lstStyle>
            <a:lvl1pPr marL="108000" algn="l">
              <a:lnSpc>
                <a:spcPct val="100000"/>
              </a:lnSpc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INFORMED</a:t>
            </a:r>
            <a:br>
              <a:rPr lang="da-DK"/>
            </a:br>
            <a:r>
              <a:rPr lang="da-DK"/>
              <a:t>SUSTAINABLE</a:t>
            </a:r>
            <a:br>
              <a:rPr lang="da-DK"/>
            </a:br>
            <a:r>
              <a:rPr lang="da-DK"/>
              <a:t>TRANSFORMATION</a:t>
            </a:r>
          </a:p>
        </p:txBody>
      </p:sp>
      <p:sp>
        <p:nvSpPr>
          <p:cNvPr id="6" name="Pladsholder til tekst 14">
            <a:extLst>
              <a:ext uri="{FF2B5EF4-FFF2-40B4-BE49-F238E27FC236}">
                <a16:creationId xmlns:a16="http://schemas.microsoft.com/office/drawing/2014/main" id="{98D01AB3-2135-4BF0-8FA2-5D4E53FEF6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16494" y="3784601"/>
            <a:ext cx="7413194" cy="152082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spcBef>
                <a:spcPts val="2200"/>
              </a:spcBef>
              <a:buClr>
                <a:srgbClr val="FFFFFF"/>
              </a:buClr>
              <a:buFont typeface="Arial" panose="020B0604020202020204" pitchFamily="34" charset="0"/>
              <a:buChar char="•"/>
              <a:defRPr sz="2000" b="0">
                <a:latin typeface="Abadi Extra Light" panose="020B0204020104020204" pitchFamily="34" charset="0"/>
              </a:defRPr>
            </a:lvl1pPr>
          </a:lstStyle>
          <a:p>
            <a:pPr lvl="0"/>
            <a:r>
              <a:rPr lang="da-DK"/>
              <a:t>Focus on the </a:t>
            </a:r>
            <a:r>
              <a:rPr lang="da-DK" err="1"/>
              <a:t>big</a:t>
            </a:r>
            <a:r>
              <a:rPr lang="da-DK"/>
              <a:t> </a:t>
            </a:r>
            <a:r>
              <a:rPr lang="da-DK" err="1"/>
              <a:t>picture</a:t>
            </a:r>
            <a:r>
              <a:rPr lang="da-DK"/>
              <a:t> </a:t>
            </a:r>
            <a:r>
              <a:rPr lang="da-DK" err="1"/>
              <a:t>across</a:t>
            </a:r>
            <a:r>
              <a:rPr lang="da-DK"/>
              <a:t> </a:t>
            </a:r>
            <a:r>
              <a:rPr lang="da-DK" err="1"/>
              <a:t>sectors</a:t>
            </a:r>
            <a:endParaRPr lang="da-DK"/>
          </a:p>
          <a:p>
            <a:pPr lvl="0"/>
            <a:r>
              <a:rPr lang="da-DK" err="1"/>
              <a:t>Identify</a:t>
            </a:r>
            <a:r>
              <a:rPr lang="da-DK"/>
              <a:t> </a:t>
            </a:r>
            <a:r>
              <a:rPr lang="da-DK" err="1"/>
              <a:t>synergies</a:t>
            </a:r>
            <a:r>
              <a:rPr lang="da-DK"/>
              <a:t> and spot the </a:t>
            </a:r>
            <a:r>
              <a:rPr lang="da-DK" err="1"/>
              <a:t>high</a:t>
            </a:r>
            <a:r>
              <a:rPr lang="da-DK"/>
              <a:t> </a:t>
            </a:r>
            <a:r>
              <a:rPr lang="da-DK" err="1"/>
              <a:t>impact</a:t>
            </a:r>
            <a:r>
              <a:rPr lang="da-DK"/>
              <a:t> solutions </a:t>
            </a:r>
          </a:p>
          <a:p>
            <a:pPr lvl="0"/>
            <a:r>
              <a:rPr lang="da-DK" err="1"/>
              <a:t>Share</a:t>
            </a:r>
            <a:r>
              <a:rPr lang="da-DK"/>
              <a:t> </a:t>
            </a:r>
            <a:r>
              <a:rPr lang="da-DK" err="1"/>
              <a:t>our</a:t>
            </a:r>
            <a:r>
              <a:rPr lang="da-DK"/>
              <a:t> </a:t>
            </a:r>
            <a:r>
              <a:rPr lang="da-DK" err="1"/>
              <a:t>findings</a:t>
            </a:r>
            <a:r>
              <a:rPr lang="da-DK"/>
              <a:t> with the </a:t>
            </a:r>
            <a:r>
              <a:rPr lang="da-DK" err="1"/>
              <a:t>world</a:t>
            </a:r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CFD3E4-9CAF-4EFC-A7E2-AB7170B853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525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 sim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3714" y="786040"/>
            <a:ext cx="9840686" cy="1325563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B885024-7124-433D-A541-B45BD3021C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015784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468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sim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33715" y="2452914"/>
            <a:ext cx="4412344" cy="3033486"/>
          </a:xfrm>
          <a:prstGeom prst="rect">
            <a:avLst/>
          </a:prstGeom>
          <a:solidFill>
            <a:srgbClr val="ECECEC"/>
          </a:solidFill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3714" y="786040"/>
            <a:ext cx="9840686" cy="1325563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F65CEE2-416F-4F3C-82DE-BD62D02687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45941" y="2452912"/>
            <a:ext cx="4412344" cy="3033487"/>
          </a:xfrm>
          <a:prstGeom prst="rect">
            <a:avLst/>
          </a:prstGeom>
          <a:solidFill>
            <a:srgbClr val="ECECEC"/>
          </a:solidFill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B885024-7124-433D-A541-B45BD3021C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015784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581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D4C917FF-B670-4355-A42E-A0168EECB7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6133906" y="537029"/>
            <a:ext cx="5544001" cy="5783942"/>
          </a:xfrm>
          <a:prstGeom prst="rect">
            <a:avLst/>
          </a:prstGeom>
        </p:spPr>
      </p:pic>
      <p:sp>
        <p:nvSpPr>
          <p:cNvPr id="9" name="Pladsholder til tekst 19" descr="Her skal der ikke være nogen tekst!">
            <a:extLst>
              <a:ext uri="{FF2B5EF4-FFF2-40B4-BE49-F238E27FC236}">
                <a16:creationId xmlns:a16="http://schemas.microsoft.com/office/drawing/2014/main" id="{31DCE5CF-33BF-4733-8461-CCC560672622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861114" y="6926"/>
            <a:ext cx="6089586" cy="6858000"/>
          </a:xfrm>
          <a:prstGeom prst="rect">
            <a:avLst/>
          </a:prstGeom>
          <a:solidFill>
            <a:schemeClr val="accent4">
              <a:lumMod val="75000"/>
              <a:alpha val="74902"/>
            </a:schemeClr>
          </a:solidFill>
        </p:spPr>
        <p:txBody>
          <a:bodyPr/>
          <a:lstStyle>
            <a:lvl1pPr>
              <a:buNone/>
              <a:defRPr>
                <a:noFill/>
              </a:defRPr>
            </a:lvl1pPr>
          </a:lstStyle>
          <a:p>
            <a:pPr lvl="0"/>
            <a:r>
              <a:rPr lang="en-GB"/>
              <a:t>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0228" y="1288143"/>
            <a:ext cx="4093029" cy="4281714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0772" y="1608260"/>
            <a:ext cx="3801438" cy="3655331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r>
              <a:rPr lang="en-US"/>
              <a:t>Write the conclusion in the title</a:t>
            </a:r>
            <a:endParaRPr lang="en-DK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B18D191F-0D71-42A3-ACCD-C3773BA9A9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15784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7025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0228" y="2496457"/>
            <a:ext cx="4093029" cy="3073400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7685" y="839004"/>
            <a:ext cx="4105571" cy="1367168"/>
          </a:xfrm>
          <a:prstGeom prst="rect">
            <a:avLst/>
          </a:prstGeom>
        </p:spPr>
        <p:txBody>
          <a:bodyPr anchor="ctr"/>
          <a:lstStyle>
            <a:lvl1pPr algn="l">
              <a:defRPr sz="4000" b="0" spc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B0604020202020204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pic>
        <p:nvPicPr>
          <p:cNvPr id="7" name="Picture 6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A991CA49-1211-4F1A-81CA-8280BB630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6133906" y="537029"/>
            <a:ext cx="5544001" cy="5783942"/>
          </a:xfrm>
          <a:prstGeom prst="rect">
            <a:avLst/>
          </a:prstGeom>
        </p:spPr>
      </p:pic>
      <p:sp>
        <p:nvSpPr>
          <p:cNvPr id="6" name="Pladsholder til tekst 19" descr="Her skal der ikke være nogen tekst!">
            <a:extLst>
              <a:ext uri="{FF2B5EF4-FFF2-40B4-BE49-F238E27FC236}">
                <a16:creationId xmlns:a16="http://schemas.microsoft.com/office/drawing/2014/main" id="{7707F9E5-AE83-4186-9178-5049C75B50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861114" y="6926"/>
            <a:ext cx="6089586" cy="6858000"/>
          </a:xfrm>
          <a:prstGeom prst="rect">
            <a:avLst/>
          </a:prstGeom>
          <a:solidFill>
            <a:schemeClr val="accent4">
              <a:lumMod val="75000"/>
              <a:alpha val="74902"/>
            </a:schemeClr>
          </a:solidFill>
        </p:spPr>
        <p:txBody>
          <a:bodyPr/>
          <a:lstStyle>
            <a:lvl1pPr>
              <a:buNone/>
              <a:defRPr>
                <a:noFill/>
              </a:defRPr>
            </a:lvl1pPr>
          </a:lstStyle>
          <a:p>
            <a:pPr lvl="0"/>
            <a:r>
              <a:rPr lang="en-GB"/>
              <a:t>ick to edit Master text styles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94896C4C-4244-42FA-86DB-5D026F97CE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22710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6142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.tif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.jpe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69D9CDD-8404-4C54-BAB9-866A52011FEB}"/>
              </a:ext>
            </a:extLst>
          </p:cNvPr>
          <p:cNvSpPr/>
          <p:nvPr userDrawn="1"/>
        </p:nvSpPr>
        <p:spPr>
          <a:xfrm>
            <a:off x="147600" y="146776"/>
            <a:ext cx="11879300" cy="657307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100000"/>
                </a:schemeClr>
              </a:gs>
              <a:gs pos="23000">
                <a:schemeClr val="accent1">
                  <a:lumMod val="95000"/>
                </a:schemeClr>
              </a:gs>
              <a:gs pos="69000">
                <a:schemeClr val="accent1">
                  <a:lumMod val="80000"/>
                </a:schemeClr>
              </a:gs>
              <a:gs pos="97000">
                <a:schemeClr val="accent1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334285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708" r:id="rId2"/>
    <p:sldLayoutId id="2147483706" r:id="rId3"/>
    <p:sldLayoutId id="2147483707" r:id="rId4"/>
    <p:sldLayoutId id="2147483709" r:id="rId5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0">
            <a:extLst>
              <a:ext uri="{FF2B5EF4-FFF2-40B4-BE49-F238E27FC236}">
                <a16:creationId xmlns:a16="http://schemas.microsoft.com/office/drawing/2014/main" id="{B473C089-EF65-4F75-81FD-70D30174BACC}"/>
              </a:ext>
            </a:extLst>
          </p:cNvPr>
          <p:cNvSpPr/>
          <p:nvPr userDrawn="1"/>
        </p:nvSpPr>
        <p:spPr>
          <a:xfrm>
            <a:off x="11950700" y="0"/>
            <a:ext cx="2413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3222894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5" r:id="rId1"/>
    <p:sldLayoutId id="2147483689" r:id="rId2"/>
    <p:sldLayoutId id="2147483710" r:id="rId3"/>
    <p:sldLayoutId id="2147483711" r:id="rId4"/>
    <p:sldLayoutId id="2147483716" r:id="rId5"/>
    <p:sldLayoutId id="2147483717" r:id="rId6"/>
    <p:sldLayoutId id="2147483724" r:id="rId7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posing for a photo in front of a structure&#10;&#10;Description automatically generated with medium confidence">
            <a:extLst>
              <a:ext uri="{FF2B5EF4-FFF2-40B4-BE49-F238E27FC236}">
                <a16:creationId xmlns:a16="http://schemas.microsoft.com/office/drawing/2014/main" id="{AFBD4170-7A64-43BA-A6BB-E11BB4DC97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429" b="38849"/>
          <a:stretch/>
        </p:blipFill>
        <p:spPr>
          <a:xfrm>
            <a:off x="-1" y="0"/>
            <a:ext cx="11950699" cy="2051931"/>
          </a:xfrm>
          <a:prstGeom prst="rect">
            <a:avLst/>
          </a:prstGeom>
        </p:spPr>
      </p:pic>
      <p:sp>
        <p:nvSpPr>
          <p:cNvPr id="5" name="Pladsholder til billede 20">
            <a:extLst>
              <a:ext uri="{FF2B5EF4-FFF2-40B4-BE49-F238E27FC236}">
                <a16:creationId xmlns:a16="http://schemas.microsoft.com/office/drawing/2014/main" id="{D5F74477-E50E-46F2-B07F-260B18AD9DAF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1950699" cy="2057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6" name="Pladsholder til slidenummer 4">
            <a:extLst>
              <a:ext uri="{FF2B5EF4-FFF2-40B4-BE49-F238E27FC236}">
                <a16:creationId xmlns:a16="http://schemas.microsoft.com/office/drawing/2014/main" id="{03D1B408-04A9-44DA-B5C9-19A7E8630E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  <p:pic>
        <p:nvPicPr>
          <p:cNvPr id="13" name="Picture 12" descr="Diagram&#10;&#10;Description automatically generated">
            <a:extLst>
              <a:ext uri="{FF2B5EF4-FFF2-40B4-BE49-F238E27FC236}">
                <a16:creationId xmlns:a16="http://schemas.microsoft.com/office/drawing/2014/main" id="{0D22900E-828B-482F-B52C-9BE0FD8F43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0" t="11823" r="8691" b="58257"/>
          <a:stretch/>
        </p:blipFill>
        <p:spPr>
          <a:xfrm>
            <a:off x="0" y="2"/>
            <a:ext cx="12192000" cy="2051930"/>
          </a:xfrm>
          <a:prstGeom prst="rect">
            <a:avLst/>
          </a:prstGeom>
        </p:spPr>
      </p:pic>
      <p:sp>
        <p:nvSpPr>
          <p:cNvPr id="14" name="Rektangel 6">
            <a:extLst>
              <a:ext uri="{FF2B5EF4-FFF2-40B4-BE49-F238E27FC236}">
                <a16:creationId xmlns:a16="http://schemas.microsoft.com/office/drawing/2014/main" id="{3DC33972-2D40-4682-93E0-0289231AB662}"/>
              </a:ext>
            </a:extLst>
          </p:cNvPr>
          <p:cNvSpPr/>
          <p:nvPr userDrawn="1"/>
        </p:nvSpPr>
        <p:spPr>
          <a:xfrm>
            <a:off x="0" y="0"/>
            <a:ext cx="12192000" cy="2084447"/>
          </a:xfrm>
          <a:prstGeom prst="rect">
            <a:avLst/>
          </a:prstGeom>
          <a:solidFill>
            <a:schemeClr val="accent2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1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08588EFB-F8F8-4C6A-BA65-CD5B3A6BBBE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6022710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5142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5" r:id="rId2"/>
    <p:sldLayoutId id="2147483721" r:id="rId3"/>
    <p:sldLayoutId id="2147483722" r:id="rId4"/>
    <p:sldLayoutId id="2147483726" r:id="rId5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0">
            <a:extLst>
              <a:ext uri="{FF2B5EF4-FFF2-40B4-BE49-F238E27FC236}">
                <a16:creationId xmlns:a16="http://schemas.microsoft.com/office/drawing/2014/main" id="{B473C089-EF65-4F75-81FD-70D30174BACC}"/>
              </a:ext>
            </a:extLst>
          </p:cNvPr>
          <p:cNvSpPr/>
          <p:nvPr userDrawn="1"/>
        </p:nvSpPr>
        <p:spPr>
          <a:xfrm>
            <a:off x="11950700" y="0"/>
            <a:ext cx="2413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6666030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3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0">
            <a:extLst>
              <a:ext uri="{FF2B5EF4-FFF2-40B4-BE49-F238E27FC236}">
                <a16:creationId xmlns:a16="http://schemas.microsoft.com/office/drawing/2014/main" id="{B473C089-EF65-4F75-81FD-70D30174BACC}"/>
              </a:ext>
            </a:extLst>
          </p:cNvPr>
          <p:cNvSpPr/>
          <p:nvPr userDrawn="1"/>
        </p:nvSpPr>
        <p:spPr>
          <a:xfrm>
            <a:off x="11950700" y="0"/>
            <a:ext cx="2413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7858302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posing for a photo in front of a structure&#10;&#10;Description automatically generated with medium confidence">
            <a:extLst>
              <a:ext uri="{FF2B5EF4-FFF2-40B4-BE49-F238E27FC236}">
                <a16:creationId xmlns:a16="http://schemas.microsoft.com/office/drawing/2014/main" id="{AFBD4170-7A64-43BA-A6BB-E11BB4DC97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429" b="38849"/>
          <a:stretch/>
        </p:blipFill>
        <p:spPr>
          <a:xfrm>
            <a:off x="-1" y="0"/>
            <a:ext cx="11950699" cy="2051931"/>
          </a:xfrm>
          <a:prstGeom prst="rect">
            <a:avLst/>
          </a:prstGeom>
        </p:spPr>
      </p:pic>
      <p:sp>
        <p:nvSpPr>
          <p:cNvPr id="5" name="Pladsholder til billede 20">
            <a:extLst>
              <a:ext uri="{FF2B5EF4-FFF2-40B4-BE49-F238E27FC236}">
                <a16:creationId xmlns:a16="http://schemas.microsoft.com/office/drawing/2014/main" id="{D5F74477-E50E-46F2-B07F-260B18AD9DAF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1950699" cy="2057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lick icon to add picture</a:t>
            </a:r>
            <a:endParaRPr lang="da-DK" dirty="0"/>
          </a:p>
        </p:txBody>
      </p:sp>
      <p:sp>
        <p:nvSpPr>
          <p:cNvPr id="6" name="Pladsholder til slidenummer 4">
            <a:extLst>
              <a:ext uri="{FF2B5EF4-FFF2-40B4-BE49-F238E27FC236}">
                <a16:creationId xmlns:a16="http://schemas.microsoft.com/office/drawing/2014/main" id="{03D1B408-04A9-44DA-B5C9-19A7E8630E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3" name="Picture 12" descr="Diagram&#10;&#10;Description automatically generated">
            <a:extLst>
              <a:ext uri="{FF2B5EF4-FFF2-40B4-BE49-F238E27FC236}">
                <a16:creationId xmlns:a16="http://schemas.microsoft.com/office/drawing/2014/main" id="{0D22900E-828B-482F-B52C-9BE0FD8F43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0" t="11823" r="8691" b="58257"/>
          <a:stretch/>
        </p:blipFill>
        <p:spPr>
          <a:xfrm>
            <a:off x="0" y="2"/>
            <a:ext cx="12192000" cy="2051930"/>
          </a:xfrm>
          <a:prstGeom prst="rect">
            <a:avLst/>
          </a:prstGeom>
        </p:spPr>
      </p:pic>
      <p:sp>
        <p:nvSpPr>
          <p:cNvPr id="14" name="Rektangel 6">
            <a:extLst>
              <a:ext uri="{FF2B5EF4-FFF2-40B4-BE49-F238E27FC236}">
                <a16:creationId xmlns:a16="http://schemas.microsoft.com/office/drawing/2014/main" id="{3DC33972-2D40-4682-93E0-0289231AB662}"/>
              </a:ext>
            </a:extLst>
          </p:cNvPr>
          <p:cNvSpPr/>
          <p:nvPr userDrawn="1"/>
        </p:nvSpPr>
        <p:spPr>
          <a:xfrm>
            <a:off x="0" y="0"/>
            <a:ext cx="12192000" cy="2084447"/>
          </a:xfrm>
          <a:prstGeom prst="rect">
            <a:avLst/>
          </a:prstGeom>
          <a:solidFill>
            <a:schemeClr val="accent2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7A765FA-FD4F-4BE5-AAFD-33372112B0D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12385" y="6205098"/>
            <a:ext cx="2017954" cy="460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2958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4" Type="http://schemas.openxmlformats.org/officeDocument/2006/relationships/image" Target="cid:a79dfed2-d132-4529-8732-ee44e1981d17@eurprd04.prod.outlook.com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5" Type="http://schemas.openxmlformats.org/officeDocument/2006/relationships/image" Target="cid:396251bc-d256-453d-9b36-e311424eaff3@eurprd04.prod.outlook.com" TargetMode="External"/><Relationship Id="rId4" Type="http://schemas.microsoft.com/office/2007/relationships/hdphoto" Target="../media/hdphoto4.wdp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4" Type="http://schemas.openxmlformats.org/officeDocument/2006/relationships/image" Target="cid:a79dfed2-d132-4529-8732-ee44e1981d17@eurprd04.prod.outlook.com" TargetMode="Externa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5" Type="http://schemas.openxmlformats.org/officeDocument/2006/relationships/image" Target="cid:396251bc-d256-453d-9b36-e311424eaff3@eurprd04.prod.outlook.com" TargetMode="External"/><Relationship Id="rId4" Type="http://schemas.microsoft.com/office/2007/relationships/hdphoto" Target="../media/hdphoto4.wdp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png"/><Relationship Id="rId12" Type="http://schemas.microsoft.com/office/2007/relationships/hdphoto" Target="../media/hdphoto3.wdp"/><Relationship Id="rId2" Type="http://schemas.openxmlformats.org/officeDocument/2006/relationships/tags" Target="../tags/tag2.xml"/><Relationship Id="rId16" Type="http://schemas.openxmlformats.org/officeDocument/2006/relationships/image" Target="cid:396251bc-d256-453d-9b36-e311424eaff3@eurprd04.prod.outlook.com" TargetMode="External"/><Relationship Id="rId1" Type="http://schemas.openxmlformats.org/officeDocument/2006/relationships/tags" Target="../tags/tag1.xml"/><Relationship Id="rId6" Type="http://schemas.openxmlformats.org/officeDocument/2006/relationships/image" Target="../media/image10.jpeg"/><Relationship Id="rId11" Type="http://schemas.openxmlformats.org/officeDocument/2006/relationships/image" Target="../media/image14.png"/><Relationship Id="rId5" Type="http://schemas.openxmlformats.org/officeDocument/2006/relationships/image" Target="cid:a79dfed2-d132-4529-8732-ee44e1981d17@eurprd04.prod.outlook.com" TargetMode="External"/><Relationship Id="rId15" Type="http://schemas.microsoft.com/office/2007/relationships/hdphoto" Target="../media/hdphoto4.wdp"/><Relationship Id="rId10" Type="http://schemas.openxmlformats.org/officeDocument/2006/relationships/image" Target="../media/image13.jpeg"/><Relationship Id="rId4" Type="http://schemas.openxmlformats.org/officeDocument/2006/relationships/image" Target="../media/image9.jpeg"/><Relationship Id="rId9" Type="http://schemas.openxmlformats.org/officeDocument/2006/relationships/image" Target="../media/image12.jpeg"/><Relationship Id="rId1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EEEAD-CD16-49B3-A510-C8FD74B01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Modelkursus om fremtidens danske biomasseressour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05BE28-DF14-4B5A-87CB-06F9520872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noProof="0"/>
              <a:t>Energy </a:t>
            </a:r>
            <a:r>
              <a:rPr lang="da-DK" noProof="0" err="1"/>
              <a:t>Modelling</a:t>
            </a:r>
            <a:r>
              <a:rPr lang="da-DK" noProof="0"/>
              <a:t> Lab</a:t>
            </a:r>
          </a:p>
        </p:txBody>
      </p:sp>
    </p:spTree>
    <p:extLst>
      <p:ext uri="{BB962C8B-B14F-4D97-AF65-F5344CB8AC3E}">
        <p14:creationId xmlns:p14="http://schemas.microsoft.com/office/powerpoint/2010/main" val="21109626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id="{17C267DF-47E8-4553-8024-D4B0FF10E8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3114" y="-7257"/>
            <a:ext cx="2840533" cy="108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pic>
        <p:nvPicPr>
          <p:cNvPr id="5123" name="Picture 3">
            <a:extLst>
              <a:ext uri="{FF2B5EF4-FFF2-40B4-BE49-F238E27FC236}">
                <a16:creationId xmlns:a16="http://schemas.microsoft.com/office/drawing/2014/main" id="{B1E62234-20BA-49F0-BA6F-820A8EE59B03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32" t="17640" r="35689" b="644"/>
          <a:stretch>
            <a:fillRect/>
          </a:stretch>
        </p:blipFill>
        <p:spPr bwMode="auto">
          <a:xfrm flipH="1">
            <a:off x="6096000" y="0"/>
            <a:ext cx="586111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2BFB4EB-F0E1-4334-A1BF-78FC91E71193}"/>
              </a:ext>
            </a:extLst>
          </p:cNvPr>
          <p:cNvSpPr txBox="1">
            <a:spLocks/>
          </p:cNvSpPr>
          <p:nvPr/>
        </p:nvSpPr>
        <p:spPr>
          <a:xfrm>
            <a:off x="337441" y="322903"/>
            <a:ext cx="5316206" cy="5284712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Økologi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Hvor stor en andel af produktionen skal være økologisk?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Økologisk dyrkning af marker og dyreopdræt har et lavere udbytte per hektar.</a:t>
            </a:r>
          </a:p>
          <a:p>
            <a:pPr marL="0" indent="0">
              <a:buClr>
                <a:schemeClr val="bg2"/>
              </a:buClr>
              <a:buNone/>
            </a:pPr>
            <a:endParaRPr lang="da-DK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Husdyr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%-vis ændring i antal husdyr relativt til i dag.</a:t>
            </a:r>
          </a:p>
          <a:p>
            <a:pPr lvl="1">
              <a:buClr>
                <a:schemeClr val="bg2"/>
              </a:buClr>
            </a:pPr>
            <a:r>
              <a:rPr lang="da-DK" sz="1200">
                <a:latin typeface="Arial Nova Light" panose="020B0304020202020204" pitchFamily="34" charset="0"/>
              </a:rPr>
              <a:t>Halvering af </a:t>
            </a:r>
            <a:r>
              <a:rPr lang="da-DK" sz="1200" b="1">
                <a:latin typeface="Arial Nova Light" panose="020B0304020202020204" pitchFamily="34" charset="0"/>
              </a:rPr>
              <a:t>køer</a:t>
            </a:r>
            <a:r>
              <a:rPr lang="da-DK" sz="1200">
                <a:latin typeface="Arial Nova Light" panose="020B0304020202020204" pitchFamily="34" charset="0"/>
              </a:rPr>
              <a:t> reducerer udledningen med </a:t>
            </a:r>
            <a:r>
              <a:rPr lang="da-DK" sz="1200" b="1">
                <a:latin typeface="Arial Nova Light" panose="020B0304020202020204" pitchFamily="34" charset="0"/>
              </a:rPr>
              <a:t>2M</a:t>
            </a:r>
            <a:r>
              <a:rPr lang="da-DK" sz="1200">
                <a:latin typeface="Arial Nova Light" panose="020B0304020202020204" pitchFamily="34" charset="0"/>
              </a:rPr>
              <a:t> ton CO2e</a:t>
            </a:r>
          </a:p>
          <a:p>
            <a:pPr lvl="1">
              <a:buClr>
                <a:schemeClr val="bg2"/>
              </a:buClr>
            </a:pPr>
            <a:r>
              <a:rPr lang="da-DK" sz="1200">
                <a:latin typeface="Arial Nova Light" panose="020B0304020202020204" pitchFamily="34" charset="0"/>
              </a:rPr>
              <a:t>Halvering af </a:t>
            </a:r>
            <a:r>
              <a:rPr lang="da-DK" sz="1200" b="1">
                <a:latin typeface="Arial Nova Light" panose="020B0304020202020204" pitchFamily="34" charset="0"/>
              </a:rPr>
              <a:t>svin</a:t>
            </a:r>
            <a:r>
              <a:rPr lang="da-DK" sz="1200">
                <a:latin typeface="Arial Nova Light" panose="020B0304020202020204" pitchFamily="34" charset="0"/>
              </a:rPr>
              <a:t> reducerer udledningen med </a:t>
            </a:r>
            <a:r>
              <a:rPr lang="da-DK" sz="1200" b="1">
                <a:latin typeface="Arial Nova Light" panose="020B0304020202020204" pitchFamily="34" charset="0"/>
              </a:rPr>
              <a:t>0,7M</a:t>
            </a:r>
            <a:r>
              <a:rPr lang="da-DK" sz="1200">
                <a:latin typeface="Arial Nova Light" panose="020B0304020202020204" pitchFamily="34" charset="0"/>
              </a:rPr>
              <a:t> ton CO2e</a:t>
            </a:r>
          </a:p>
          <a:p>
            <a:pPr lvl="1">
              <a:buClr>
                <a:schemeClr val="bg2"/>
              </a:buClr>
            </a:pPr>
            <a:r>
              <a:rPr lang="da-DK" sz="1200">
                <a:latin typeface="Arial Nova Light" panose="020B0304020202020204" pitchFamily="34" charset="0"/>
              </a:rPr>
              <a:t>Halvering af </a:t>
            </a:r>
            <a:r>
              <a:rPr lang="da-DK" sz="1200" b="1">
                <a:latin typeface="Arial Nova Light" panose="020B0304020202020204" pitchFamily="34" charset="0"/>
              </a:rPr>
              <a:t>fjerkræ</a:t>
            </a:r>
            <a:r>
              <a:rPr lang="da-DK" sz="1200">
                <a:latin typeface="Arial Nova Light" panose="020B0304020202020204" pitchFamily="34" charset="0"/>
              </a:rPr>
              <a:t> reducerer udledningen med </a:t>
            </a:r>
            <a:r>
              <a:rPr lang="da-DK" sz="1200" b="1">
                <a:latin typeface="Arial Nova Light" panose="020B0304020202020204" pitchFamily="34" charset="0"/>
              </a:rPr>
              <a:t>0,008M</a:t>
            </a:r>
            <a:r>
              <a:rPr lang="da-DK" sz="1200">
                <a:latin typeface="Arial Nova Light" panose="020B0304020202020204" pitchFamily="34" charset="0"/>
              </a:rPr>
              <a:t> ton CO2e</a:t>
            </a: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endParaRPr lang="da-DK" sz="1600" b="1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Afgrødesammensætning på markerne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Skal der dyrkes korn (foder), raps (biobrændsel), grøntsager (mad til mennesker) osv.?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Hvis en afgrøde er i underskud ift. efterspørgslen vil modellen skrue op for importen.</a:t>
            </a:r>
          </a:p>
          <a:p>
            <a:pPr lvl="1">
              <a:buClr>
                <a:schemeClr val="bg2"/>
              </a:buClr>
            </a:pPr>
            <a:endParaRPr lang="da-DK" sz="1200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endParaRPr lang="da-DK" sz="1400" b="1"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>
              <a:latin typeface="Arial Nova Light" panose="020B0304020202020204" pitchFamily="34" charset="0"/>
            </a:endParaRPr>
          </a:p>
          <a:p>
            <a:endParaRPr lang="da-DK" sz="1400">
              <a:latin typeface="Arial Nova Light" panose="020B03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542A9517-3B81-4988-8F1F-542453E2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3041" y="-2507775"/>
            <a:ext cx="2500147" cy="71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14D7E3B9-2194-45BF-A4E7-E8CDB371E5B2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LANDBRUG</a:t>
            </a:r>
          </a:p>
        </p:txBody>
      </p:sp>
    </p:spTree>
    <p:extLst>
      <p:ext uri="{BB962C8B-B14F-4D97-AF65-F5344CB8AC3E}">
        <p14:creationId xmlns:p14="http://schemas.microsoft.com/office/powerpoint/2010/main" val="24360270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1B3F684-29CD-48D0-93A9-33C61B7B7F1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164" r="28860"/>
          <a:stretch/>
        </p:blipFill>
        <p:spPr>
          <a:xfrm>
            <a:off x="6095999" y="0"/>
            <a:ext cx="5861114" cy="6858000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DERSAMMENSÆTN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4000" y="828000"/>
            <a:ext cx="4575977" cy="4910949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Import af foder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I dag importeres 27% af dyrefoderet i Danmark (primært sojaskrå fra Tyskland, Argentina og Brasilien)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latin typeface="Arial Nova Light" panose="020B0304020202020204" pitchFamily="34" charset="0"/>
              </a:rPr>
              <a:t>Hvor stor en importandel skal vi have i 2030 og 2050? </a:t>
            </a:r>
            <a:endParaRPr lang="da-DK" sz="18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endParaRPr lang="da-DK" sz="16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Erstatning for import</a:t>
            </a: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Hvis man skruer ned for importen af foder, skal dette foder erstattes med andre produkter.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latin typeface="Arial Nova Light" panose="020B0304020202020204" pitchFamily="34" charset="0"/>
              </a:rPr>
              <a:t>Det kunne f.eks. være korn, kartofler, bælgsæd, tang, græs, mm.</a:t>
            </a: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endParaRPr lang="da-DK" sz="14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da-DK" sz="1400" noProof="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2653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9853009F-9FF6-48CC-A7CD-DA17353B8C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868" r="11629" b="16445"/>
          <a:stretch/>
        </p:blipFill>
        <p:spPr bwMode="auto">
          <a:xfrm>
            <a:off x="6095998" y="-6776"/>
            <a:ext cx="5861115" cy="686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SKOVBRU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100" y="548600"/>
            <a:ext cx="5107200" cy="5179100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Foryngelse af skov</a:t>
            </a:r>
          </a:p>
          <a:p>
            <a:pPr>
              <a:buClr>
                <a:schemeClr val="bg2"/>
              </a:buClr>
            </a:pPr>
            <a: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I produktionsskove bliver der hvert år fældet træ, som erstattes af ny skov.</a:t>
            </a:r>
          </a:p>
          <a:p>
            <a:pPr>
              <a:buClr>
                <a:schemeClr val="bg2"/>
              </a:buClr>
            </a:pPr>
            <a:r>
              <a:rPr lang="da-DK" sz="1400" noProof="0" dirty="0">
                <a:latin typeface="Arial Nova Light" panose="020B0304020202020204" pitchFamily="34" charset="0"/>
              </a:rPr>
              <a:t>Det antages, at der i dag forynges 0,5% af skovarealet hvert år. </a:t>
            </a:r>
            <a:endParaRPr lang="da-DK" sz="100" b="1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Skovtyper</a:t>
            </a: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Der er forskellige kombinationer af træer man kan vælge når en skov forynges eller der bliver plantet ny skov:</a:t>
            </a:r>
          </a:p>
          <a:p>
            <a:pPr lvl="1">
              <a:buClr>
                <a:schemeClr val="bg2"/>
              </a:buClr>
            </a:pPr>
            <a:r>
              <a:rPr lang="da-DK" sz="12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Type I</a:t>
            </a:r>
            <a:r>
              <a:rPr lang="da-DK" sz="1200" noProof="0" dirty="0">
                <a:latin typeface="Arial Nova Light" panose="020B0304020202020204" pitchFamily="34" charset="0"/>
              </a:rPr>
              <a:t>: Blandet løv med indblanding af nål </a:t>
            </a:r>
            <a:br>
              <a:rPr lang="da-DK" sz="1200" noProof="0" dirty="0">
                <a:latin typeface="Arial Nova Light" panose="020B0304020202020204" pitchFamily="34" charset="0"/>
              </a:rPr>
            </a:b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(Høj CO</a:t>
            </a:r>
            <a:r>
              <a:rPr lang="da-DK" sz="1200" baseline="-250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2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 lagring på den lange  bane)</a:t>
            </a:r>
            <a:endParaRPr lang="da-DK" sz="1200" noProof="0" dirty="0">
              <a:latin typeface="Arial Nova Light" panose="020B0304020202020204" pitchFamily="34" charset="0"/>
            </a:endParaRPr>
          </a:p>
          <a:p>
            <a:pPr lvl="1">
              <a:buClr>
                <a:schemeClr val="bg2"/>
              </a:buClr>
            </a:pPr>
            <a:r>
              <a:rPr lang="da-DK" sz="12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Type II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: Hurtigvoksende kultur, ½ douglasgran og ½ rødgran med lærk </a:t>
            </a:r>
            <a:b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(Høj CO</a:t>
            </a:r>
            <a:r>
              <a:rPr lang="da-DK" sz="1200" baseline="-250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2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 lagring på både kort og lang bane)</a:t>
            </a:r>
          </a:p>
          <a:p>
            <a:pPr lvl="1">
              <a:buClr>
                <a:schemeClr val="bg2"/>
              </a:buClr>
            </a:pPr>
            <a:r>
              <a:rPr lang="da-DK" sz="1200" b="1" noProof="0" dirty="0">
                <a:latin typeface="Arial Nova Light" panose="020B0304020202020204" pitchFamily="34" charset="0"/>
              </a:rPr>
              <a:t>Type III</a:t>
            </a:r>
            <a:r>
              <a:rPr lang="da-DK" sz="1200" noProof="0" dirty="0">
                <a:latin typeface="Arial Nova Light" panose="020B0304020202020204" pitchFamily="34" charset="0"/>
              </a:rPr>
              <a:t>: Løv, eg eller bøg </a:t>
            </a:r>
            <a:br>
              <a:rPr lang="da-DK" sz="1200" noProof="0" dirty="0">
                <a:latin typeface="Arial Nova Light" panose="020B0304020202020204" pitchFamily="34" charset="0"/>
              </a:rPr>
            </a:b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(Høj CO</a:t>
            </a:r>
            <a:r>
              <a:rPr lang="da-DK" sz="1200" baseline="-250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2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 lagring på den lange bane)</a:t>
            </a:r>
            <a:endParaRPr lang="da-DK" sz="1200" noProof="0" dirty="0">
              <a:latin typeface="Arial Nova Light" panose="020B0304020202020204" pitchFamily="34" charset="0"/>
            </a:endParaRPr>
          </a:p>
          <a:p>
            <a:pPr lvl="1">
              <a:buClr>
                <a:schemeClr val="bg2"/>
              </a:buClr>
            </a:pPr>
            <a:r>
              <a:rPr lang="da-DK" sz="12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Type IV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: Hurtigvoksende kultur, bøg eller eg med poppel (Høj CO</a:t>
            </a:r>
            <a:r>
              <a:rPr lang="da-DK" sz="1200" baseline="-250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2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 lagring på den korte og lange bane)</a:t>
            </a:r>
          </a:p>
          <a:p>
            <a:pPr lvl="1">
              <a:buClr>
                <a:schemeClr val="bg2"/>
              </a:buClr>
            </a:pPr>
            <a:r>
              <a:rPr lang="da-DK" sz="1200" b="1" noProof="0" dirty="0">
                <a:latin typeface="Arial Nova Light" panose="020B0304020202020204" pitchFamily="34" charset="0"/>
              </a:rPr>
              <a:t>Type V</a:t>
            </a:r>
            <a:r>
              <a:rPr lang="da-DK" sz="1200" noProof="0" dirty="0">
                <a:latin typeface="Arial Nova Light" panose="020B0304020202020204" pitchFamily="34" charset="0"/>
              </a:rPr>
              <a:t>: Naturlig tilgroning </a:t>
            </a:r>
            <a:br>
              <a:rPr lang="da-DK" sz="1200" noProof="0" dirty="0">
                <a:latin typeface="Arial Nova Light" panose="020B0304020202020204" pitchFamily="34" charset="0"/>
              </a:rPr>
            </a:br>
            <a:r>
              <a:rPr lang="da-DK" sz="1200" noProof="0" dirty="0">
                <a:latin typeface="Arial Nova Light" panose="020B0304020202020204" pitchFamily="34" charset="0"/>
              </a:rPr>
              <a:t>(lav CO</a:t>
            </a:r>
            <a:r>
              <a:rPr lang="da-DK" sz="1200" baseline="-25000" noProof="0" dirty="0">
                <a:latin typeface="Arial Nova Light" panose="020B0304020202020204" pitchFamily="34" charset="0"/>
              </a:rPr>
              <a:t>2</a:t>
            </a:r>
            <a:r>
              <a:rPr lang="da-DK" sz="1200" noProof="0" dirty="0">
                <a:latin typeface="Arial Nova Light" panose="020B0304020202020204" pitchFamily="34" charset="0"/>
              </a:rPr>
              <a:t> lagring, men højt niveau af biodiversitet)</a:t>
            </a:r>
            <a:endParaRPr lang="da-DK" sz="12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endParaRPr lang="da-DK" sz="1400" b="1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da-DK" sz="1400" noProof="0" dirty="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4181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ground, outdoor, black, close&#10;&#10;Description automatically generated">
            <a:extLst>
              <a:ext uri="{FF2B5EF4-FFF2-40B4-BE49-F238E27FC236}">
                <a16:creationId xmlns:a16="http://schemas.microsoft.com/office/drawing/2014/main" id="{2E8C1D60-D910-437E-A973-52A64E5A90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1985"/>
          <a:stretch/>
        </p:blipFill>
        <p:spPr>
          <a:xfrm>
            <a:off x="6095996" y="-6776"/>
            <a:ext cx="5861115" cy="6864774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latin typeface="Abadi Extra Light" panose="020B0204020104020204" pitchFamily="34" charset="0"/>
              </a:rPr>
              <a:t>HAVBRU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4000" y="828000"/>
            <a:ext cx="4611900" cy="4607600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Havareal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Danmark har en lang kyststrækning, som på nuværende tidspunk</a:t>
            </a:r>
            <a:r>
              <a:rPr lang="da-DK" sz="1400" noProof="0">
                <a:latin typeface="Arial Nova Light" panose="020B0304020202020204" pitchFamily="34" charset="0"/>
              </a:rPr>
              <a:t>t i meget lav grad udnyttes til produktion af tang og muslinger.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Hvor mange hektar musling og tangproduktion vil vi have i fremtiden?</a:t>
            </a:r>
          </a:p>
          <a:p>
            <a:pPr>
              <a:buClr>
                <a:schemeClr val="bg2"/>
              </a:buClr>
            </a:pPr>
            <a:endParaRPr lang="da-DK" sz="1400" noProof="0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Potentialer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Ifølge en rapport fra </a:t>
            </a:r>
            <a:r>
              <a:rPr lang="da-DK" sz="1400" noProof="0">
                <a:latin typeface="Arial Nova Light" panose="020B0304020202020204" pitchFamily="34" charset="0"/>
              </a:rPr>
              <a:t>Aarhus Universitet er potentialet for muslinger: 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solidFill>
                  <a:schemeClr val="bg1"/>
                </a:solidFill>
                <a:latin typeface="Arial Nova Light" panose="020B0304020202020204" pitchFamily="34" charset="0"/>
              </a:rPr>
              <a:t>74.000 ha sikkert potentiale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135.500  ha potentiale, hvis man tager de usikre områder med i beregningerne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Ifølge en rapport fra DTU er potentialet for tangproduktion i Danmark på 800 ha.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da-DK" sz="1400" noProof="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6252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2E36A80-4623-4BD9-9B34-D614B04D6F3B}"/>
              </a:ext>
            </a:extLst>
          </p:cNvPr>
          <p:cNvGrpSpPr/>
          <p:nvPr/>
        </p:nvGrpSpPr>
        <p:grpSpPr>
          <a:xfrm>
            <a:off x="6094186" y="0"/>
            <a:ext cx="5861114" cy="6858000"/>
            <a:chOff x="6094186" y="0"/>
            <a:chExt cx="5861114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EE8B55A-5962-4AF0-BC63-C06E2879570D}"/>
                </a:ext>
              </a:extLst>
            </p:cNvPr>
            <p:cNvSpPr/>
            <p:nvPr/>
          </p:nvSpPr>
          <p:spPr>
            <a:xfrm>
              <a:off x="6108700" y="0"/>
              <a:ext cx="5846600" cy="6858000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50" name="Picture 2" descr="SRWMP Food Waste - Home">
              <a:extLst>
                <a:ext uri="{FF2B5EF4-FFF2-40B4-BE49-F238E27FC236}">
                  <a16:creationId xmlns:a16="http://schemas.microsoft.com/office/drawing/2014/main" id="{1ADA71E8-9E65-4F6D-99C8-CEBE572FE8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881" b="81028" l="10277" r="87945">
                          <a14:foregroundMark x1="10474" y1="63043" x2="14822" y2="64229"/>
                          <a14:foregroundMark x1="85573" y1="61462" x2="87945" y2="6166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75" t="1293" r="7219" b="9980"/>
            <a:stretch/>
          </p:blipFill>
          <p:spPr bwMode="auto">
            <a:xfrm>
              <a:off x="6094186" y="825500"/>
              <a:ext cx="5861114" cy="6032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1227364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ADFÆRD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11178A42-BA4F-40ED-A28B-5E819ACFF038}"/>
              </a:ext>
            </a:extLst>
          </p:cNvPr>
          <p:cNvSpPr txBox="1">
            <a:spLocks/>
          </p:cNvSpPr>
          <p:nvPr/>
        </p:nvSpPr>
        <p:spPr>
          <a:xfrm>
            <a:off x="684000" y="825500"/>
            <a:ext cx="4093029" cy="4744357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 dirty="0">
                <a:latin typeface="Arial Nova Light" panose="020B0304020202020204" pitchFamily="34" charset="0"/>
              </a:rPr>
              <a:t>Køderstatning</a:t>
            </a:r>
          </a:p>
          <a:p>
            <a:pPr>
              <a:buClr>
                <a:schemeClr val="bg2"/>
              </a:buClr>
            </a:pPr>
            <a:r>
              <a:rPr lang="da-DK" sz="1400" dirty="0">
                <a:latin typeface="Arial Nova Light" panose="020B0304020202020204" pitchFamily="34" charset="0"/>
              </a:rPr>
              <a:t>Vil planteprotein, muslinger, tang og kunstigt kød overtage markedsandele fra animalsk kød </a:t>
            </a:r>
            <a:r>
              <a:rPr lang="da-DK" sz="1400">
                <a:latin typeface="Arial Nova Light" panose="020B0304020202020204" pitchFamily="34" charset="0"/>
              </a:rPr>
              <a:t>fra husdyr?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dirty="0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400" b="1" dirty="0">
                <a:latin typeface="Arial Nova Light" panose="020B0304020202020204" pitchFamily="34" charset="0"/>
              </a:rPr>
              <a:t>Madspild</a:t>
            </a:r>
            <a:endParaRPr lang="da-DK" sz="1600" b="1" dirty="0"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r>
              <a:rPr lang="da-DK" sz="1400" dirty="0">
                <a:latin typeface="Arial Nova Light" panose="020B0304020202020204" pitchFamily="34" charset="0"/>
              </a:rPr>
              <a:t>Hvor stor en andel madspild hos forbrugere og i servicesektoren kan vi forvente i fremtiden?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622978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>
            <a:extLst>
              <a:ext uri="{FF2B5EF4-FFF2-40B4-BE49-F238E27FC236}">
                <a16:creationId xmlns:a16="http://schemas.microsoft.com/office/drawing/2014/main" id="{8573C262-9A05-4E5A-8734-7882A3FB805A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" r:link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091" t="42420"/>
          <a:stretch>
            <a:fillRect/>
          </a:stretch>
        </p:blipFill>
        <p:spPr bwMode="auto">
          <a:xfrm>
            <a:off x="6096000" y="0"/>
            <a:ext cx="586111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AF5B3E46-3580-411E-9AC5-A12E8666E0F4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RBRUG AF MATERIAL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E37F1A2-BEDE-4F9B-A971-B509343075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4000" y="825500"/>
            <a:ext cx="4093029" cy="4744357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 noProof="0">
                <a:latin typeface="Arial Nova Light" panose="020B0304020202020204" pitchFamily="34" charset="0"/>
              </a:rPr>
              <a:t>Forbrug til materialer, kemi eller eksport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latin typeface="Arial Nova Light" panose="020B0304020202020204" pitchFamily="34" charset="0"/>
              </a:rPr>
              <a:t>Hvor stor en andel af disse materialer skal i fremtiden bruges til andet end energiproduktion?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Halm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Rapsolie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Pil &amp; poppel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Træ til energi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Have/parkaffald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Bioaffald</a:t>
            </a:r>
          </a:p>
          <a:p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5981969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5800" y="647700"/>
            <a:ext cx="4800600" cy="5156200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Udnyttelsesgrad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I dag bliver 23% af det producerede gylle og 38% af vores spildevandsslam udnyttet til biogas.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Hvor stor en andel bliver udnyttet i 2030 og 2050?</a:t>
            </a:r>
            <a:endParaRPr lang="da-DK" sz="18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endParaRPr lang="da-DK" sz="16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Andre input i </a:t>
            </a:r>
            <a:r>
              <a:rPr lang="da-DK" sz="1600" b="1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biogasanlægene</a:t>
            </a: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Bioaffald, industriaffald, halm, græs, mm. kan også bruges som input i biogasanlæg.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latin typeface="Arial Nova Light" panose="020B0304020202020204" pitchFamily="34" charset="0"/>
              </a:rPr>
              <a:t>Hvor mange ton af disse andre input skal vi fodre vores biogasanlæg med?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B</a:t>
            </a:r>
            <a:r>
              <a:rPr lang="da-DK" sz="1400" noProof="0">
                <a:latin typeface="Arial Nova Light" panose="020B0304020202020204" pitchFamily="34" charset="0"/>
              </a:rPr>
              <a:t>emærk at både mængden af tørstof og energiafgrøder i blandingen skal holde sig under 13%.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Bemærk at 1% af det nuværende input i biogasanlæggene er formegentlig er glycerin fra fossile kilder.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da-DK" sz="1400" noProof="0">
              <a:latin typeface="Arial Nova Light" panose="020B03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D1FA7B-A723-43FD-83DA-EFEE67CB19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999" t="-128" r="25981" b="128"/>
          <a:stretch/>
        </p:blipFill>
        <p:spPr>
          <a:xfrm>
            <a:off x="6096000" y="-8769"/>
            <a:ext cx="5861114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7C3E2E86-3770-4F52-95BF-2F61D2282F00}"/>
              </a:ext>
            </a:extLst>
          </p:cNvPr>
          <p:cNvSpPr txBox="1">
            <a:spLocks/>
          </p:cNvSpPr>
          <p:nvPr/>
        </p:nvSpPr>
        <p:spPr>
          <a:xfrm>
            <a:off x="6096000" y="933750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BIOGASANLÆG</a:t>
            </a:r>
          </a:p>
        </p:txBody>
      </p:sp>
    </p:spTree>
    <p:extLst>
      <p:ext uri="{BB962C8B-B14F-4D97-AF65-F5344CB8AC3E}">
        <p14:creationId xmlns:p14="http://schemas.microsoft.com/office/powerpoint/2010/main" val="493333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C29741-4D20-47E4-82A7-C56E86605C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noProof="0">
                <a:latin typeface="Arial Nova Light" panose="020B0304020202020204" pitchFamily="34" charset="0"/>
              </a:rPr>
              <a:t>I resume-arket kan man finde grafer over:</a:t>
            </a:r>
            <a:br>
              <a:rPr lang="da-DK" noProof="0">
                <a:latin typeface="Arial Nova Light" panose="020B0304020202020204" pitchFamily="34" charset="0"/>
              </a:rPr>
            </a:br>
            <a:endParaRPr lang="da-DK" noProof="0">
              <a:latin typeface="Arial Nova Light" panose="020B0304020202020204" pitchFamily="34" charset="0"/>
            </a:endParaRPr>
          </a:p>
          <a:p>
            <a:r>
              <a:rPr lang="da-DK" noProof="0">
                <a:latin typeface="Arial Nova Light" panose="020B0304020202020204" pitchFamily="34" charset="0"/>
              </a:rPr>
              <a:t>Arealanvendelse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Udledning af drivhusgasser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Afgrødefordeling i landbrugsjord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Potentiale til energianvendelse (både i PJ og i ton tørstof)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Import og eksport af biomasse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Forbrug af biomasse</a:t>
            </a:r>
          </a:p>
          <a:p>
            <a:endParaRPr lang="da-DK" noProof="0">
              <a:latin typeface="Arial Nova Light" panose="020B03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6A2AE5-C854-4B4A-866C-A4B885820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6023" y="1119105"/>
            <a:ext cx="4281716" cy="4281714"/>
          </a:xfrm>
        </p:spPr>
        <p:txBody>
          <a:bodyPr/>
          <a:lstStyle/>
          <a:p>
            <a:r>
              <a:rPr lang="da-DK" noProof="0"/>
              <a:t>Find resultaterne i resume-arket</a:t>
            </a:r>
          </a:p>
        </p:txBody>
      </p:sp>
    </p:spTree>
    <p:extLst>
      <p:ext uri="{BB962C8B-B14F-4D97-AF65-F5344CB8AC3E}">
        <p14:creationId xmlns:p14="http://schemas.microsoft.com/office/powerpoint/2010/main" val="37311040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C3B35-727C-4F5A-9C0C-C34FC9D01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SAMMENLIGNING AF SCENARIER</a:t>
            </a:r>
          </a:p>
        </p:txBody>
      </p:sp>
    </p:spTree>
    <p:extLst>
      <p:ext uri="{BB962C8B-B14F-4D97-AF65-F5344CB8AC3E}">
        <p14:creationId xmlns:p14="http://schemas.microsoft.com/office/powerpoint/2010/main" val="32071041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AE9D4FB-59A3-4303-A05C-B2FA4465C5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63147" y="3494718"/>
            <a:ext cx="2724730" cy="22552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Gå til fanen </a:t>
            </a:r>
            <a:r>
              <a:rPr lang="da-DK" sz="1600" i="1" noProof="0">
                <a:latin typeface="Arial Nova Light" panose="020B0304020202020204" pitchFamily="34" charset="0"/>
              </a:rPr>
              <a:t>Scenar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Skriv navnene på scenariefilerne i kolonne 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noProof="0"/>
              <a:t>Importer data</a:t>
            </a:r>
            <a:endParaRPr lang="da-DK" sz="1600" noProof="0">
              <a:latin typeface="Arial Nova Light" panose="020B03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8EE16D-F548-450A-9E79-2A9A994D2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1731" y="537030"/>
            <a:ext cx="10236200" cy="1548714"/>
          </a:xfrm>
        </p:spPr>
        <p:txBody>
          <a:bodyPr/>
          <a:lstStyle/>
          <a:p>
            <a:r>
              <a:rPr lang="da-DK" noProof="0"/>
              <a:t>Sammenlign forskellige scenari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9F9C62-77E4-49F8-A034-D547E607BE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1" y="3494719"/>
            <a:ext cx="2724730" cy="22552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Sammenligningsarket skal være i samme mappe som scenariefiler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963D62-C41D-421D-A5AF-2CB8D14ABA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55539" y="3494716"/>
            <a:ext cx="2724730" cy="22552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noProof="0"/>
              <a:t>Gå til fanen resu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Her er resultaterne fra de forskellige scenarier samle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B3BE306-F9FA-4C07-97AA-E32426D7A5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11731" y="2772228"/>
            <a:ext cx="2724730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Åben sammenlignings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895FD0-FEBD-4AEE-A831-E379953965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3147" y="2772228"/>
            <a:ext cx="2724730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Vælg scenarieark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02BC46-AAFA-4504-A059-CC68B5FA60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5539" y="2772228"/>
            <a:ext cx="2724730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Sammenlign resultaterne</a:t>
            </a:r>
          </a:p>
        </p:txBody>
      </p:sp>
    </p:spTree>
    <p:extLst>
      <p:ext uri="{BB962C8B-B14F-4D97-AF65-F5344CB8AC3E}">
        <p14:creationId xmlns:p14="http://schemas.microsoft.com/office/powerpoint/2010/main" val="694766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9839AA-7C47-4DF1-BB71-A216F49820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noProof="0"/>
              <a:t>Intro til Danmarks bioressourcemodel</a:t>
            </a:r>
          </a:p>
          <a:p>
            <a:r>
              <a:rPr lang="da-DK" noProof="0"/>
              <a:t>Hvordan laver man et scenarie?</a:t>
            </a:r>
          </a:p>
          <a:p>
            <a:r>
              <a:rPr lang="da-DK" noProof="0"/>
              <a:t>Sammenligning af scenarier</a:t>
            </a:r>
          </a:p>
          <a:p>
            <a:r>
              <a:rPr lang="da-DK" noProof="0"/>
              <a:t>Eksempler på scenarier</a:t>
            </a:r>
          </a:p>
          <a:p>
            <a:r>
              <a:rPr lang="da-DK" noProof="0"/>
              <a:t>Øvelse: Lav jeres eget scenarie</a:t>
            </a:r>
          </a:p>
          <a:p>
            <a:r>
              <a:rPr lang="da-DK" noProof="0"/>
              <a:t>Næste ga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F74471-951E-4360-A584-F2B44FBA6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Dagens pla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A43843D-69A1-4874-A90A-8203047779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chemeClr val="accent4">
              <a:alpha val="70000"/>
            </a:schemeClr>
          </a:solidFill>
        </p:spPr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886829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54655-617C-42BC-BDBB-D4AE79F86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Eksempler på scenarier</a:t>
            </a:r>
          </a:p>
        </p:txBody>
      </p:sp>
    </p:spTree>
    <p:extLst>
      <p:ext uri="{BB962C8B-B14F-4D97-AF65-F5344CB8AC3E}">
        <p14:creationId xmlns:p14="http://schemas.microsoft.com/office/powerpoint/2010/main" val="9519571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25E695-5E66-43D6-9448-2F5AA559BC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E99002-02D8-43F5-BB8E-C16F49DF94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0228" y="1279569"/>
            <a:ext cx="4093029" cy="4285010"/>
          </a:xfrm>
        </p:spPr>
        <p:txBody>
          <a:bodyPr/>
          <a:lstStyle/>
          <a:p>
            <a:pPr marL="0" indent="0">
              <a:lnSpc>
                <a:spcPct val="107000"/>
              </a:lnSpc>
              <a:buNone/>
            </a:pPr>
            <a:r>
              <a:rPr lang="da-DK" sz="1400" noProof="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ÅLSÆTNINGER I SCENARIERNE</a:t>
            </a:r>
          </a:p>
          <a:p>
            <a:pPr marL="0" indent="0">
              <a:lnSpc>
                <a:spcPct val="107000"/>
              </a:lnSpc>
              <a:buNone/>
            </a:pPr>
            <a:endParaRPr lang="da-DK" sz="1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None/>
            </a:pPr>
            <a:r>
              <a:rPr lang="da-DK" sz="1400" noProof="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duktion af drivhusgasser:</a:t>
            </a:r>
          </a:p>
          <a:p>
            <a:pPr>
              <a:lnSpc>
                <a:spcPct val="107000"/>
              </a:lnSpc>
            </a:pPr>
            <a:r>
              <a:rPr lang="da-DK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70% i 2030 ift. 1990</a:t>
            </a:r>
          </a:p>
          <a:p>
            <a:pPr>
              <a:lnSpc>
                <a:spcPct val="107000"/>
              </a:lnSpc>
            </a:pPr>
            <a:r>
              <a:rPr lang="da-DK" sz="1400" noProof="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100% </a:t>
            </a:r>
            <a:r>
              <a:rPr lang="da-DK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 2050</a:t>
            </a:r>
          </a:p>
          <a:p>
            <a:pPr marL="0" indent="0">
              <a:lnSpc>
                <a:spcPct val="107000"/>
              </a:lnSpc>
              <a:buNone/>
            </a:pPr>
            <a:endParaRPr lang="da-DK" sz="1400" noProof="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None/>
            </a:pPr>
            <a:r>
              <a:rPr lang="da-DK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duktion af foderimport</a:t>
            </a:r>
            <a:endParaRPr lang="da-DK" sz="1400" noProof="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da-DK" sz="1400" noProof="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50% i 2030 ift. 2019</a:t>
            </a:r>
          </a:p>
          <a:p>
            <a:pPr>
              <a:lnSpc>
                <a:spcPct val="107000"/>
              </a:lnSpc>
            </a:pPr>
            <a:r>
              <a:rPr lang="da-DK" sz="1400" noProof="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100% i 2050</a:t>
            </a:r>
          </a:p>
        </p:txBody>
      </p:sp>
      <p:pic>
        <p:nvPicPr>
          <p:cNvPr id="9" name="Picture 8" descr="Aerial View of Plowing Fields">
            <a:extLst>
              <a:ext uri="{FF2B5EF4-FFF2-40B4-BE49-F238E27FC236}">
                <a16:creationId xmlns:a16="http://schemas.microsoft.com/office/drawing/2014/main" id="{D6B3761A-022A-4E64-A190-B59DBFF27A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4744" r="24744"/>
          <a:stretch/>
        </p:blipFill>
        <p:spPr>
          <a:xfrm>
            <a:off x="5861115" y="-6926"/>
            <a:ext cx="6101886" cy="6871852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44F38E2-B941-4FDD-A0E9-CEF471AD8F47}"/>
              </a:ext>
            </a:extLst>
          </p:cNvPr>
          <p:cNvSpPr txBox="1">
            <a:spLocks/>
          </p:cNvSpPr>
          <p:nvPr/>
        </p:nvSpPr>
        <p:spPr>
          <a:xfrm>
            <a:off x="6264728" y="1293421"/>
            <a:ext cx="5927272" cy="4285010"/>
          </a:xfrm>
          <a:prstGeom prst="rect">
            <a:avLst/>
          </a:prstGeom>
          <a:noFill/>
        </p:spPr>
        <p:txBody>
          <a:bodyPr lIns="360000" tIns="360000" rIns="360000" bIns="360000"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7C98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3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scenarier:</a:t>
            </a:r>
            <a:br>
              <a:rPr kumimoji="0" lang="da-DK" sz="3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kumimoji="0" lang="da-DK" sz="36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0" indent="-7429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a-DK" sz="3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knologi-optimistisk</a:t>
            </a:r>
            <a:br>
              <a:rPr kumimoji="0" lang="da-DK" sz="3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kumimoji="0" lang="da-DK" sz="36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0" indent="-7429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a-DK" sz="3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knologi-uafhængigt</a:t>
            </a:r>
          </a:p>
        </p:txBody>
      </p:sp>
    </p:spTree>
    <p:extLst>
      <p:ext uri="{BB962C8B-B14F-4D97-AF65-F5344CB8AC3E}">
        <p14:creationId xmlns:p14="http://schemas.microsoft.com/office/powerpoint/2010/main" val="40005403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25E695-5E66-43D6-9448-2F5AA559BC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9" name="Picture 8" descr="Fields of wheat">
            <a:extLst>
              <a:ext uri="{FF2B5EF4-FFF2-40B4-BE49-F238E27FC236}">
                <a16:creationId xmlns:a16="http://schemas.microsoft.com/office/drawing/2014/main" id="{D6B3761A-022A-4E64-A190-B59DBFF27A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5026" r="25026"/>
          <a:stretch/>
        </p:blipFill>
        <p:spPr>
          <a:xfrm>
            <a:off x="5861115" y="-6926"/>
            <a:ext cx="6101886" cy="687185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62022D7-4A2B-4994-B1EC-1E1701C83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6676" y="1608260"/>
            <a:ext cx="3801438" cy="3655331"/>
          </a:xfrm>
        </p:spPr>
        <p:txBody>
          <a:bodyPr/>
          <a:lstStyle/>
          <a:p>
            <a:r>
              <a:rPr lang="da-DK" noProof="0" dirty="0"/>
              <a:t>FORSKELLIGE VIRKEMIDLER TIL AT NÅ MÅLENE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99A0D25-5ABA-4D51-8D8B-393EC16F0567}"/>
              </a:ext>
            </a:extLst>
          </p:cNvPr>
          <p:cNvGraphicFramePr>
            <a:graphicFrameLocks noGrp="1"/>
          </p:cNvGraphicFramePr>
          <p:nvPr/>
        </p:nvGraphicFramePr>
        <p:xfrm>
          <a:off x="385751" y="531845"/>
          <a:ext cx="4988683" cy="51506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38724">
                  <a:extLst>
                    <a:ext uri="{9D8B030D-6E8A-4147-A177-3AD203B41FA5}">
                      <a16:colId xmlns:a16="http://schemas.microsoft.com/office/drawing/2014/main" val="1677016297"/>
                    </a:ext>
                  </a:extLst>
                </a:gridCol>
                <a:gridCol w="683883">
                  <a:extLst>
                    <a:ext uri="{9D8B030D-6E8A-4147-A177-3AD203B41FA5}">
                      <a16:colId xmlns:a16="http://schemas.microsoft.com/office/drawing/2014/main" val="2699150222"/>
                    </a:ext>
                  </a:extLst>
                </a:gridCol>
                <a:gridCol w="683883">
                  <a:extLst>
                    <a:ext uri="{9D8B030D-6E8A-4147-A177-3AD203B41FA5}">
                      <a16:colId xmlns:a16="http://schemas.microsoft.com/office/drawing/2014/main" val="3345103924"/>
                    </a:ext>
                  </a:extLst>
                </a:gridCol>
                <a:gridCol w="683883">
                  <a:extLst>
                    <a:ext uri="{9D8B030D-6E8A-4147-A177-3AD203B41FA5}">
                      <a16:colId xmlns:a16="http://schemas.microsoft.com/office/drawing/2014/main" val="1636602214"/>
                    </a:ext>
                  </a:extLst>
                </a:gridCol>
                <a:gridCol w="598310">
                  <a:extLst>
                    <a:ext uri="{9D8B030D-6E8A-4147-A177-3AD203B41FA5}">
                      <a16:colId xmlns:a16="http://schemas.microsoft.com/office/drawing/2014/main" val="3488269453"/>
                    </a:ext>
                  </a:extLst>
                </a:gridCol>
              </a:tblGrid>
              <a:tr h="30794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200" b="0" dirty="0">
                          <a:effectLst/>
                        </a:rPr>
                        <a:t>Virkemidler</a:t>
                      </a:r>
                      <a:endParaRPr lang="en-DK" sz="105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 err="1">
                          <a:effectLst/>
                        </a:rPr>
                        <a:t>TekOpt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 err="1">
                          <a:effectLst/>
                        </a:rPr>
                        <a:t>TekUaf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 err="1">
                          <a:effectLst/>
                        </a:rPr>
                        <a:t>TekOpt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 err="1">
                          <a:effectLst/>
                        </a:rPr>
                        <a:t>TekUaf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1680213503"/>
                  </a:ext>
                </a:extLst>
              </a:tr>
              <a:tr h="307941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203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205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7708659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Hektar </a:t>
                      </a:r>
                      <a:r>
                        <a:rPr lang="da-DK" sz="1000" b="0" dirty="0" err="1">
                          <a:effectLst/>
                          <a:latin typeface="+mj-lt"/>
                        </a:rPr>
                        <a:t>organogene</a:t>
                      </a:r>
                      <a:r>
                        <a:rPr lang="da-DK" sz="1000" b="0" dirty="0">
                          <a:effectLst/>
                          <a:latin typeface="+mj-lt"/>
                        </a:rPr>
                        <a:t> jorde omlægges fra landbrug til natur (ift. 2019)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00.00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00.00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178.700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78.70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2068821239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Hektar alm. landbrugsjord omlægges til skov (ift. 2019)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160.000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200.00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440.000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400.000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3636653235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Andel </a:t>
                      </a:r>
                      <a:r>
                        <a:rPr lang="da-DK" sz="1000" b="0" dirty="0" err="1">
                          <a:effectLst/>
                          <a:latin typeface="+mj-lt"/>
                        </a:rPr>
                        <a:t>hurtigtvokesnde</a:t>
                      </a:r>
                      <a:r>
                        <a:rPr lang="da-DK" sz="1000" b="0" dirty="0">
                          <a:effectLst/>
                          <a:latin typeface="+mj-lt"/>
                        </a:rPr>
                        <a:t> skovtyper i den nye skov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10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00%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6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8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4028070196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Reduktion i bestanden af svin og køer </a:t>
                      </a:r>
                      <a:br>
                        <a:rPr lang="da-DK" sz="1000" b="0" dirty="0">
                          <a:effectLst/>
                          <a:latin typeface="+mj-lt"/>
                        </a:rPr>
                      </a:br>
                      <a:r>
                        <a:rPr lang="da-DK" sz="1000" b="0" dirty="0">
                          <a:effectLst/>
                          <a:latin typeface="+mj-lt"/>
                        </a:rPr>
                        <a:t>(ift. 2019)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5%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3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1106078545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Udbyttestigning af halm og afgrøder </a:t>
                      </a:r>
                      <a:br>
                        <a:rPr lang="da-DK" sz="1000" b="0" dirty="0">
                          <a:effectLst/>
                          <a:latin typeface="+mj-lt"/>
                        </a:rPr>
                      </a:br>
                      <a:r>
                        <a:rPr lang="da-DK" sz="1000" b="0" dirty="0">
                          <a:effectLst/>
                          <a:latin typeface="+mj-lt"/>
                        </a:rPr>
                        <a:t>(ift. 2019)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7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15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2873023454"/>
                  </a:ext>
                </a:extLst>
              </a:tr>
              <a:tr h="3079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Halmopsamling af totalt halmudbytte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8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6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90%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6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3001080333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Andelen af landbrugsarealet der går til foder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73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68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78%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67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4217393651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Importeret kraftfoder erstattes af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Græsprotein, roer, muslinger, tang og </a:t>
                      </a:r>
                      <a:br>
                        <a:rPr lang="da-DK" sz="1000" b="0" dirty="0">
                          <a:effectLst/>
                        </a:rPr>
                      </a:br>
                      <a:r>
                        <a:rPr lang="da-DK" sz="1000" b="0" dirty="0">
                          <a:effectLst/>
                        </a:rPr>
                        <a:t>rapskager (overskud fra produktion af rapsolie)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5407768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Andelen af gylle, spildevandsslam og dybstrøelse der går til biogas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75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5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9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75%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2046835131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Ton halm, der går til biokul i et pyrolyseanlæg.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2,4 mio.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0,5 mio.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2,6 mio.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 mio.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2430932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29354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game&#10;&#10;Description automatically generated with low confidence">
            <a:extLst>
              <a:ext uri="{FF2B5EF4-FFF2-40B4-BE49-F238E27FC236}">
                <a16:creationId xmlns:a16="http://schemas.microsoft.com/office/drawing/2014/main" id="{9218B787-4403-4BAF-B595-5BC2B22426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1730" y="2451128"/>
            <a:ext cx="3624163" cy="3646692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81D45822-3EBE-4EE8-B8FD-828E19E1AE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9830" y="2451128"/>
            <a:ext cx="3624163" cy="3646692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D924A104-BBC8-41F6-9D68-2B72FBEC5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1731" y="0"/>
            <a:ext cx="10236200" cy="2085743"/>
          </a:xfrm>
        </p:spPr>
        <p:txBody>
          <a:bodyPr/>
          <a:lstStyle/>
          <a:p>
            <a:r>
              <a:rPr lang="da-DK" dirty="0"/>
              <a:t>ET NOGET ANDET DANMARKSKORT</a:t>
            </a:r>
          </a:p>
        </p:txBody>
      </p:sp>
    </p:spTree>
    <p:extLst>
      <p:ext uri="{BB962C8B-B14F-4D97-AF65-F5344CB8AC3E}">
        <p14:creationId xmlns:p14="http://schemas.microsoft.com/office/powerpoint/2010/main" val="32598972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924A104-BBC8-41F6-9D68-2B72FBEC5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1731" y="0"/>
            <a:ext cx="10236200" cy="2085743"/>
          </a:xfrm>
        </p:spPr>
        <p:txBody>
          <a:bodyPr/>
          <a:lstStyle/>
          <a:p>
            <a:r>
              <a:rPr lang="da-DK" dirty="0"/>
              <a:t>ET drivhusgas-neutralt landbru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71CAC45-BC65-4B1D-962A-1BD9ECFBD8F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16" r="10658" b="5437"/>
          <a:stretch/>
        </p:blipFill>
        <p:spPr bwMode="auto">
          <a:xfrm>
            <a:off x="3001657" y="2085743"/>
            <a:ext cx="6400688" cy="477225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2651479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54655-617C-42BC-BDBB-D4AE79F86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ØVELSER</a:t>
            </a:r>
          </a:p>
        </p:txBody>
      </p:sp>
    </p:spTree>
    <p:extLst>
      <p:ext uri="{BB962C8B-B14F-4D97-AF65-F5344CB8AC3E}">
        <p14:creationId xmlns:p14="http://schemas.microsoft.com/office/powerpoint/2010/main" val="10483666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7E0748-5F16-4844-8D58-058707F392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noProof="0">
                <a:latin typeface="Arial Nova Light" panose="020B0304020202020204" pitchFamily="34" charset="0"/>
              </a:rPr>
              <a:t>Åben DK-</a:t>
            </a:r>
            <a:r>
              <a:rPr lang="da-DK" noProof="0" err="1">
                <a:latin typeface="Arial Nova Light" panose="020B0304020202020204" pitchFamily="34" charset="0"/>
              </a:rPr>
              <a:t>BioRes</a:t>
            </a:r>
            <a:endParaRPr lang="da-DK" noProof="0">
              <a:latin typeface="Arial Nova Light" panose="020B03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noProof="0">
                <a:latin typeface="Arial Nova Light" panose="020B0304020202020204" pitchFamily="34" charset="0"/>
              </a:rPr>
              <a:t>Åben 31AugBlan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noProof="0">
                <a:latin typeface="Arial Nova Light" panose="020B0304020202020204" pitchFamily="34" charset="0"/>
              </a:rPr>
              <a:t>Gå igennem de følgende opgav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97020D-E131-4181-90D8-2C7C5C059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9171" y="839004"/>
            <a:ext cx="4410372" cy="1367168"/>
          </a:xfrm>
        </p:spPr>
        <p:txBody>
          <a:bodyPr/>
          <a:lstStyle/>
          <a:p>
            <a:r>
              <a:rPr lang="da-DK" noProof="0"/>
              <a:t>Lav en scenariefil</a:t>
            </a:r>
          </a:p>
        </p:txBody>
      </p:sp>
    </p:spTree>
    <p:extLst>
      <p:ext uri="{BB962C8B-B14F-4D97-AF65-F5344CB8AC3E}">
        <p14:creationId xmlns:p14="http://schemas.microsoft.com/office/powerpoint/2010/main" val="28602206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 descr="A picture containing outdoor, grass, sky, nature&#10;&#10;Description automatically generated">
            <a:extLst>
              <a:ext uri="{FF2B5EF4-FFF2-40B4-BE49-F238E27FC236}">
                <a16:creationId xmlns:a16="http://schemas.microsoft.com/office/drawing/2014/main" id="{C379F2DA-B7B9-4FA7-A271-3E45E7F52D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851" r="9148"/>
          <a:stretch/>
        </p:blipFill>
        <p:spPr>
          <a:xfrm>
            <a:off x="5861114" y="-6925"/>
            <a:ext cx="6096000" cy="6857999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4000" y="828000"/>
            <a:ext cx="4644572" cy="5040085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Opgave 1</a:t>
            </a:r>
            <a:endParaRPr lang="da-DK" sz="1400" noProof="0" dirty="0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400" noProof="0" dirty="0">
                <a:latin typeface="Arial Nova Light" panose="020B0304020202020204" pitchFamily="34" charset="0"/>
              </a:rPr>
              <a:t>Lavbundsjorde udleder store mængder drivhusgasser når de dyrkes og egner sig dårligt til skov. </a:t>
            </a: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342900" indent="-342900">
              <a:buClr>
                <a:schemeClr val="bg2"/>
              </a:buClr>
              <a:buAutoNum type="alphaLcParenR"/>
            </a:pPr>
            <a:r>
              <a:rPr lang="da-DK" sz="1400" noProof="0" dirty="0">
                <a:latin typeface="Arial Nova Light" panose="020B0304020202020204" pitchFamily="34" charset="0"/>
              </a:rPr>
              <a:t>Omlæg yderligere 46.500 ha CO6 areal i 2030 og 93.000 haCO6 areal i 2050 fra landbrug til natur</a:t>
            </a:r>
          </a:p>
          <a:p>
            <a:pPr marL="342900" indent="-342900">
              <a:buClr>
                <a:schemeClr val="bg2"/>
              </a:buClr>
              <a:buFont typeface="Arial" panose="020B0604020202020204" pitchFamily="34" charset="0"/>
              <a:buAutoNum type="alphaLcParenR"/>
            </a:pPr>
            <a: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Omlæg al resterende OC12 areal fra landbrug til natur.</a:t>
            </a:r>
            <a:b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b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r>
              <a:rPr lang="da-DK" sz="1400" i="1" noProof="0" dirty="0">
                <a:latin typeface="Arial Nova Light" panose="020B0304020202020204" pitchFamily="34" charset="0"/>
              </a:rPr>
              <a:t>I tabellerne til højre kan man følge med i hvor meget areal der er er dedikeret til forskellige anvendelser.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400" b="1" noProof="0" dirty="0">
                <a:latin typeface="Arial Nova Light" panose="020B0304020202020204" pitchFamily="34" charset="0"/>
              </a:rPr>
              <a:t>Opgave 2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 noProof="0" dirty="0">
                <a:solidFill>
                  <a:schemeClr val="accent1">
                    <a:lumMod val="50000"/>
                  </a:schemeClr>
                </a:solidFill>
                <a:latin typeface="Arial Nova Light" panose="020B0304020202020204" pitchFamily="34" charset="0"/>
              </a:rPr>
              <a:t>Danmark har en målsætning om 1.075.000 ha skov i 2065 i dag </a:t>
            </a:r>
            <a:r>
              <a:rPr lang="da-DK" sz="1400" noProof="0" dirty="0">
                <a:latin typeface="Arial Nova Light" panose="020B0304020202020204" pitchFamily="34" charset="0"/>
              </a:rPr>
              <a:t>har vi 435.000 ha.</a:t>
            </a: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342900" indent="-342900">
              <a:buClr>
                <a:schemeClr val="bg2"/>
              </a:buClr>
              <a:buAutoNum type="alphaLcParenR"/>
            </a:pPr>
            <a: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Omlæg  alm. landbrugsjord </a:t>
            </a:r>
            <a:r>
              <a:rPr lang="da-DK" sz="1400" noProof="0" dirty="0">
                <a:latin typeface="Arial Nova Light" panose="020B0304020202020204" pitchFamily="34" charset="0"/>
              </a:rPr>
              <a:t>til skov så vi i 2030 har 750.000 ha og i 2050 har 1.000.000 ha skov</a:t>
            </a: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D13345-F0D4-4CFC-820B-EC56DE871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772" y="1608261"/>
            <a:ext cx="3801438" cy="1820740"/>
          </a:xfrm>
        </p:spPr>
        <p:txBody>
          <a:bodyPr/>
          <a:lstStyle/>
          <a:p>
            <a:pPr algn="ctr"/>
            <a:r>
              <a:rPr lang="da-DK" sz="2800" b="0" spc="300" noProof="0">
                <a:latin typeface="Abadi Extra Light" panose="020B0204020104020204" pitchFamily="34" charset="0"/>
              </a:rPr>
              <a:t>AREALANVENDELSE</a:t>
            </a:r>
          </a:p>
        </p:txBody>
      </p:sp>
    </p:spTree>
    <p:extLst>
      <p:ext uri="{BB962C8B-B14F-4D97-AF65-F5344CB8AC3E}">
        <p14:creationId xmlns:p14="http://schemas.microsoft.com/office/powerpoint/2010/main" val="2364107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id="{17C267DF-47E8-4553-8024-D4B0FF10E8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3114" y="-7257"/>
            <a:ext cx="2840533" cy="108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pic>
        <p:nvPicPr>
          <p:cNvPr id="5123" name="Picture 3">
            <a:extLst>
              <a:ext uri="{FF2B5EF4-FFF2-40B4-BE49-F238E27FC236}">
                <a16:creationId xmlns:a16="http://schemas.microsoft.com/office/drawing/2014/main" id="{B1E62234-20BA-49F0-BA6F-820A8EE59B03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32" t="17640" r="35689" b="644"/>
          <a:stretch>
            <a:fillRect/>
          </a:stretch>
        </p:blipFill>
        <p:spPr bwMode="auto">
          <a:xfrm flipH="1">
            <a:off x="6096000" y="0"/>
            <a:ext cx="586111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2">
            <a:extLst>
              <a:ext uri="{FF2B5EF4-FFF2-40B4-BE49-F238E27FC236}">
                <a16:creationId xmlns:a16="http://schemas.microsoft.com/office/drawing/2014/main" id="{542A9517-3B81-4988-8F1F-542453E2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3041" y="-2507775"/>
            <a:ext cx="2500147" cy="71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14D7E3B9-2194-45BF-A4E7-E8CDB371E5B2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LANDBRUG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2FE800A-8A50-408C-A056-4CB40DE2A388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5054640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3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er mængden af økologiske afgrøder så der i 2030 er 15% og i 2050 er 20%.</a:t>
            </a:r>
            <a:br>
              <a:rPr lang="da-DK" sz="1400">
                <a:latin typeface="Arial Nova Light" panose="020B0304020202020204" pitchFamily="34" charset="0"/>
              </a:rPr>
            </a:br>
            <a:r>
              <a:rPr lang="da-DK" sz="1400" i="1">
                <a:latin typeface="Arial Nova Light" panose="020B0304020202020204" pitchFamily="34" charset="0"/>
              </a:rPr>
              <a:t>(Bemærk at økologi-andelen for svin, kør og fjerkræ er sat til at følge økologiandelen i afgrøder. Dette kan man bare overskrive)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Reducér mængden af husdyr med 5% i 2030 og 20% i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Indfør en udbyttestigning på 15% på halm og 7% på afgrøder i begge år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Med færre husdyr kan vi nøjes med mindre korn. Nedjustér mængden af areal brugt til korn med 11%-point i 2030 og 17%-poin i 2050 i både øst og vest Danmark (brug negativt fortegn)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Fordel de 11%-point og 17%-point i kategorierne bælgsæd, raps, græs, grøntsager og roer, så kolonnerne summerer til nul.</a:t>
            </a:r>
          </a:p>
          <a:p>
            <a:endParaRPr lang="da-DK" sz="140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13586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1B3F684-29CD-48D0-93A9-33C61B7B7F1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164" r="28860"/>
          <a:stretch/>
        </p:blipFill>
        <p:spPr>
          <a:xfrm>
            <a:off x="6095999" y="0"/>
            <a:ext cx="5861114" cy="6858000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DERSAMMENSÆTN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4000" y="828000"/>
            <a:ext cx="4575977" cy="4910949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Opgave 4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 noProof="0">
                <a:latin typeface="Arial Nova Light" panose="020B0304020202020204" pitchFamily="34" charset="0"/>
              </a:rPr>
              <a:t>Import af foder i landbruget er temmelig upopulært, og mange landmænd er i gang med at omlægge til hjemmedyrket foder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Nedjustér foderimporten til 20% i 2030 og 10% i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 noProof="0">
                <a:latin typeface="Arial Nova Light" panose="020B0304020202020204" pitchFamily="34" charset="0"/>
              </a:rPr>
              <a:t>Det importerede foder erstattes i 2030 af lige dele korn, bælgsæd, roer og græs, og i 2050 af 50% græs og 25% hhv. bælgsæd og roer.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Ude i Resume, kan man holde øje med om modellen begynder at importere f.eks. korn eller roer, hvis vi ikke dyrker nok lokalt.</a:t>
            </a:r>
          </a:p>
          <a:p>
            <a:pPr marL="0" indent="0">
              <a:buClr>
                <a:schemeClr val="bg2"/>
              </a:buClr>
              <a:buNone/>
            </a:pPr>
            <a:b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Husk at genberegn for at opdaterer graferne </a:t>
            </a:r>
            <a:b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(</a:t>
            </a:r>
            <a:r>
              <a:rPr lang="da-DK" sz="1400" i="1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Ctrl</a:t>
            </a:r>
            <a: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 + Alt + F5 eller under Data &gt; </a:t>
            </a:r>
            <a:r>
              <a:rPr lang="da-DK" sz="1400" i="1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Refresh</a:t>
            </a:r>
            <a: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 All)</a:t>
            </a:r>
            <a:endParaRPr lang="da-DK" sz="1400" noProof="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3282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326A6F-E5BB-4986-B635-8726FD389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INTRO TIL DANMARKS bioressourcemodel</a:t>
            </a:r>
          </a:p>
        </p:txBody>
      </p:sp>
    </p:spTree>
    <p:extLst>
      <p:ext uri="{BB962C8B-B14F-4D97-AF65-F5344CB8AC3E}">
        <p14:creationId xmlns:p14="http://schemas.microsoft.com/office/powerpoint/2010/main" val="29335853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9853009F-9FF6-48CC-A7CD-DA17353B8C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868" r="11629" b="16445"/>
          <a:stretch/>
        </p:blipFill>
        <p:spPr bwMode="auto">
          <a:xfrm>
            <a:off x="6095998" y="-6776"/>
            <a:ext cx="5861115" cy="686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SKOVBRUG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CDBFFEE-1A1D-497A-BE98-6E0A0FF4BA4D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4910949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5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I skov-sammensætningen handler det om at finde en balance mellem biodiversitet og CO2-opdag. 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Undersøg hvad CO2-optaget fra skovbruget er med en flad fordeling mellem de forskellige skovtyper. (CO2-optaget kan findes under Resume) 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Hvor meget påvirker det CO2-optaget hvis man ændrer skovsammensætningen til 80% skovtype 2 og 20% skovtype 5?</a:t>
            </a:r>
          </a:p>
        </p:txBody>
      </p:sp>
    </p:spTree>
    <p:extLst>
      <p:ext uri="{BB962C8B-B14F-4D97-AF65-F5344CB8AC3E}">
        <p14:creationId xmlns:p14="http://schemas.microsoft.com/office/powerpoint/2010/main" val="10633876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ground, outdoor, black, close&#10;&#10;Description automatically generated">
            <a:extLst>
              <a:ext uri="{FF2B5EF4-FFF2-40B4-BE49-F238E27FC236}">
                <a16:creationId xmlns:a16="http://schemas.microsoft.com/office/drawing/2014/main" id="{2E8C1D60-D910-437E-A973-52A64E5A90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1985"/>
          <a:stretch/>
        </p:blipFill>
        <p:spPr>
          <a:xfrm>
            <a:off x="6095996" y="-6776"/>
            <a:ext cx="5861115" cy="6864774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latin typeface="Abadi Extra Light" panose="020B0204020104020204" pitchFamily="34" charset="0"/>
              </a:rPr>
              <a:t>HAVBRUG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16BD0CD-A8A9-401C-B695-91DC43CF3546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4910949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6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I dag udnytte vi langt fra hele Danmarks potentiale til at dyrke muslinger og tang.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Det </a:t>
            </a:r>
            <a:r>
              <a:rPr lang="da-DK" sz="1400" b="1">
                <a:latin typeface="Arial Nova Light" panose="020B0304020202020204" pitchFamily="34" charset="0"/>
              </a:rPr>
              <a:t>sikre potentiale for muslinger </a:t>
            </a:r>
            <a:r>
              <a:rPr lang="da-DK" sz="1400">
                <a:latin typeface="Arial Nova Light" panose="020B0304020202020204" pitchFamily="34" charset="0"/>
              </a:rPr>
              <a:t>er: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74.500 ha i Vest- og 1.600 ha i Østdanmark 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Der er </a:t>
            </a:r>
            <a:r>
              <a:rPr lang="da-DK" sz="1400" b="1">
                <a:latin typeface="Arial Nova Light" panose="020B0304020202020204" pitchFamily="34" charset="0"/>
              </a:rPr>
              <a:t>et samlet potentiale for muslinger </a:t>
            </a:r>
            <a:r>
              <a:rPr lang="da-DK" sz="1400">
                <a:latin typeface="Arial Nova Light" panose="020B0304020202020204" pitchFamily="34" charset="0"/>
              </a:rPr>
              <a:t>er: 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108.400 ha i Vest- og 27.000 ha i Østdanmark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Potentialet for </a:t>
            </a:r>
            <a:r>
              <a:rPr lang="da-DK" sz="1400" b="1">
                <a:latin typeface="Arial Nova Light" panose="020B0304020202020204" pitchFamily="34" charset="0"/>
              </a:rPr>
              <a:t>tang</a:t>
            </a:r>
            <a:r>
              <a:rPr lang="da-DK" sz="1400">
                <a:latin typeface="Arial Nova Light" panose="020B0304020202020204" pitchFamily="34" charset="0"/>
              </a:rPr>
              <a:t> er: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600 ha i Vest- og 200 ha i Østdanmark</a:t>
            </a:r>
            <a:br>
              <a:rPr lang="da-DK" sz="1400">
                <a:latin typeface="Arial Nova Light" panose="020B0304020202020204" pitchFamily="34" charset="0"/>
              </a:rPr>
            </a:br>
            <a:endParaRPr lang="da-DK" sz="1400">
              <a:latin typeface="Arial Nova Light" panose="020B0304020202020204" pitchFamily="34" charset="0"/>
            </a:endParaRP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Indfør havbrug så vi udnytter 50% af det sikre muslingepotentiale i 2030 og 75% af det fulde potentiale i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Indfør tangproduktion så vi udnytter 50% ad Danmarks tangpotentiale i 2030 og 100% af potentialet i 2050.</a:t>
            </a:r>
          </a:p>
        </p:txBody>
      </p:sp>
    </p:spTree>
    <p:extLst>
      <p:ext uri="{BB962C8B-B14F-4D97-AF65-F5344CB8AC3E}">
        <p14:creationId xmlns:p14="http://schemas.microsoft.com/office/powerpoint/2010/main" val="37255290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2E36A80-4623-4BD9-9B34-D614B04D6F3B}"/>
              </a:ext>
            </a:extLst>
          </p:cNvPr>
          <p:cNvGrpSpPr/>
          <p:nvPr/>
        </p:nvGrpSpPr>
        <p:grpSpPr>
          <a:xfrm>
            <a:off x="6094186" y="0"/>
            <a:ext cx="5861114" cy="6858000"/>
            <a:chOff x="6094186" y="0"/>
            <a:chExt cx="5861114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EE8B55A-5962-4AF0-BC63-C06E2879570D}"/>
                </a:ext>
              </a:extLst>
            </p:cNvPr>
            <p:cNvSpPr/>
            <p:nvPr/>
          </p:nvSpPr>
          <p:spPr>
            <a:xfrm>
              <a:off x="6108700" y="0"/>
              <a:ext cx="5846600" cy="6858000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50" name="Picture 2" descr="SRWMP Food Waste - Home">
              <a:extLst>
                <a:ext uri="{FF2B5EF4-FFF2-40B4-BE49-F238E27FC236}">
                  <a16:creationId xmlns:a16="http://schemas.microsoft.com/office/drawing/2014/main" id="{1ADA71E8-9E65-4F6D-99C8-CEBE572FE8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881" b="81028" l="10277" r="87945">
                          <a14:foregroundMark x1="10474" y1="63043" x2="14822" y2="64229"/>
                          <a14:foregroundMark x1="85573" y1="61462" x2="87945" y2="6166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75" t="1293" r="7219" b="9980"/>
            <a:stretch/>
          </p:blipFill>
          <p:spPr bwMode="auto">
            <a:xfrm>
              <a:off x="6094186" y="825500"/>
              <a:ext cx="5861114" cy="6032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1227364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ADFÆRD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CE8A86E-AC3A-4C32-B298-82F4E5721A58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4910949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7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Plantealternativer til kør er så småt ved at finde vej til forbrugernes indkøbskurve, og i de nye klimakostråd anbefaler sundhedsstyrelsen at vi danskere reducerer vores kødforbrug med 65% (fra 1 kg til 350 g kød per uge)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er kødforbruget så vi i 2030 erstatter 20% af kødet med planteprotein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er kødforbruget så vi i 2050 erstatter 40% af kødforbruget med planteprotein, 2,5% med hhv. muslinger og tang og 20% med Kunstigt kød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ér så madspildet hos forbrugerne reduceres til 10% i 2030 7% i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ér så forbrugerne sorterer 50% af bioaffaldet i 2030 og 90% af bioaffaldet i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ér så service sektoren undgår 15% af madaffaldet i 2030 og 50% i 2050.</a:t>
            </a:r>
          </a:p>
        </p:txBody>
      </p:sp>
    </p:spTree>
    <p:extLst>
      <p:ext uri="{BB962C8B-B14F-4D97-AF65-F5344CB8AC3E}">
        <p14:creationId xmlns:p14="http://schemas.microsoft.com/office/powerpoint/2010/main" val="11972415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>
            <a:extLst>
              <a:ext uri="{FF2B5EF4-FFF2-40B4-BE49-F238E27FC236}">
                <a16:creationId xmlns:a16="http://schemas.microsoft.com/office/drawing/2014/main" id="{8573C262-9A05-4E5A-8734-7882A3FB805A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" r:link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091" t="42420"/>
          <a:stretch>
            <a:fillRect/>
          </a:stretch>
        </p:blipFill>
        <p:spPr bwMode="auto">
          <a:xfrm>
            <a:off x="6096000" y="0"/>
            <a:ext cx="586111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AF5B3E46-3580-411E-9AC5-A12E8666E0F4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RBRUG AF MATERIALER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A1AABB2-1301-4750-B3A9-17323339660F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4910949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8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I fremtiden kan biomassen potentielt bruges til andre produkter f.eks. tøjfibre, træfiberisolering, biogødning mm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Udtag 10% af energitræet i 2030 og 40% i 2050 til byggematerialer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Udtag 20% af have/parkaffald og bioaffald til biogødning i både 2030 og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Udtag 2% af halmen til tøjfibre i 2030 og 10% i 2050.</a:t>
            </a:r>
          </a:p>
          <a:p>
            <a:endParaRPr lang="da-DK" sz="140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19888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AD1FA7B-A723-43FD-83DA-EFEE67CB19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999" t="-128" r="25981" b="128"/>
          <a:stretch/>
        </p:blipFill>
        <p:spPr>
          <a:xfrm>
            <a:off x="6096000" y="-8769"/>
            <a:ext cx="5861114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7C3E2E86-3770-4F52-95BF-2F61D2282F00}"/>
              </a:ext>
            </a:extLst>
          </p:cNvPr>
          <p:cNvSpPr txBox="1">
            <a:spLocks/>
          </p:cNvSpPr>
          <p:nvPr/>
        </p:nvSpPr>
        <p:spPr>
          <a:xfrm>
            <a:off x="6096000" y="933750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BIOGASANLÆG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6A2FBB3-39EA-4714-9762-BDDBD6E65FF6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4910949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9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Der er et stort uudnyttet biogas-potentiale i gyllen fra vores husdyrproduktion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Skaler udnyttelsesgraden af det animalske gylle så 90% bruges i biogasproduktionen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Skaler op så 50% af dybstrøelsen og 20% af den brune saft udnyttes til biogas. </a:t>
            </a:r>
            <a:br>
              <a:rPr lang="da-DK" sz="1400">
                <a:latin typeface="Arial Nova Light" panose="020B0304020202020204" pitchFamily="34" charset="0"/>
              </a:rPr>
            </a:br>
            <a:r>
              <a:rPr lang="da-DK" sz="1400">
                <a:latin typeface="Arial Nova Light" panose="020B0304020202020204" pitchFamily="34" charset="0"/>
              </a:rPr>
              <a:t>(Brun saft er et restprodukt der kommer når man laver græs til græsprotein i bioraffinaderier) </a:t>
            </a: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10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Al det resterende potentiale af forskellige affaldstyper fyldes i biogasanlæggene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Prøv at maksimér mængden af biogas, der kan laves ved at tilføre halm og græs, uden at tørstofindholdet eller andelen af energiafgrøder overstiger 14%.</a:t>
            </a:r>
            <a:br>
              <a:rPr lang="da-DK" sz="1400">
                <a:latin typeface="Arial Nova Light" panose="020B0304020202020204" pitchFamily="34" charset="0"/>
              </a:rPr>
            </a:br>
            <a:r>
              <a:rPr lang="da-DK" sz="1400">
                <a:latin typeface="Arial Nova Light" panose="020B0304020202020204" pitchFamily="34" charset="0"/>
              </a:rPr>
              <a:t>Bemærk at græs er mere fugtigt end halm, men halm er ikke en energiafgrøde.</a:t>
            </a:r>
          </a:p>
        </p:txBody>
      </p:sp>
    </p:spTree>
    <p:extLst>
      <p:ext uri="{BB962C8B-B14F-4D97-AF65-F5344CB8AC3E}">
        <p14:creationId xmlns:p14="http://schemas.microsoft.com/office/powerpoint/2010/main" val="2864605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790BCA-57E9-40E2-BFBD-FBE9C4D538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C3CB03-1836-4A44-9D49-F54BF24C36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1800" b="1" noProof="0">
                <a:latin typeface="Arial Nova Light" panose="020B0304020202020204" pitchFamily="34" charset="0"/>
              </a:rPr>
              <a:t>Opgave 11</a:t>
            </a:r>
            <a:endParaRPr lang="da-DK" noProof="0">
              <a:latin typeface="Arial Nova Light" panose="020B0304020202020204" pitchFamily="34" charset="0"/>
            </a:endParaRPr>
          </a:p>
          <a:p>
            <a:r>
              <a:rPr lang="da-DK" noProof="0">
                <a:latin typeface="Arial Nova Light" panose="020B0304020202020204" pitchFamily="34" charset="0"/>
              </a:rPr>
              <a:t>Gem den scenariefil du har arbejdet i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Åben Sammenligningsværktøjet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Sammenlign resultaterne fra dit øvelsesscenarie med scenarierne: </a:t>
            </a:r>
          </a:p>
          <a:p>
            <a:pPr lvl="1"/>
            <a:r>
              <a:rPr lang="da-DK" noProof="0">
                <a:latin typeface="Arial Nova Light" panose="020B0304020202020204" pitchFamily="34" charset="0"/>
              </a:rPr>
              <a:t>Business As </a:t>
            </a:r>
            <a:r>
              <a:rPr lang="da-DK" noProof="0" err="1">
                <a:latin typeface="Arial Nova Light" panose="020B0304020202020204" pitchFamily="34" charset="0"/>
              </a:rPr>
              <a:t>Usual</a:t>
            </a:r>
            <a:r>
              <a:rPr lang="da-DK" noProof="0">
                <a:latin typeface="Arial Nova Light" panose="020B0304020202020204" pitchFamily="34" charset="0"/>
              </a:rPr>
              <a:t> (BAU)</a:t>
            </a:r>
          </a:p>
          <a:p>
            <a:pPr lvl="1"/>
            <a:r>
              <a:rPr lang="da-DK" noProof="0">
                <a:latin typeface="Arial Nova Light" panose="020B0304020202020204" pitchFamily="34" charset="0"/>
              </a:rPr>
              <a:t>Biomassescenarie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87320E8A-26CE-41C4-960B-4C8DFC82C999}"/>
              </a:ext>
            </a:extLst>
          </p:cNvPr>
          <p:cNvSpPr txBox="1">
            <a:spLocks/>
          </p:cNvSpPr>
          <p:nvPr/>
        </p:nvSpPr>
        <p:spPr>
          <a:xfrm>
            <a:off x="5861114" y="2275114"/>
            <a:ext cx="6096000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Sammenligning af scenarier</a:t>
            </a:r>
          </a:p>
        </p:txBody>
      </p:sp>
    </p:spTree>
    <p:extLst>
      <p:ext uri="{BB962C8B-B14F-4D97-AF65-F5344CB8AC3E}">
        <p14:creationId xmlns:p14="http://schemas.microsoft.com/office/powerpoint/2010/main" val="24557529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2711EB-688F-48BB-AE2E-715B06EB1B6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15" y="0"/>
            <a:ext cx="6089586" cy="6858000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A116B6-2FCB-4276-9C7E-68AAE8FDC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noProof="0"/>
              <a:t>Modellen trækker på viden og data fra tidligere rapporter.</a:t>
            </a:r>
            <a:br>
              <a:rPr lang="da-DK" noProof="0"/>
            </a:br>
            <a:endParaRPr lang="da-DK" noProof="0"/>
          </a:p>
          <a:p>
            <a:r>
              <a:rPr lang="da-DK" noProof="0"/>
              <a:t>Blandt andet </a:t>
            </a:r>
            <a:r>
              <a:rPr lang="da-DK" noProof="0" err="1"/>
              <a:t>MFVM’s</a:t>
            </a:r>
            <a:r>
              <a:rPr lang="da-DK" noProof="0"/>
              <a:t> projekt: </a:t>
            </a:r>
            <a:r>
              <a:rPr lang="da-DK" i="1" noProof="0"/>
              <a:t>Baggrundsanalyse af effekter ved fremtidig arealanvendelse og alternativ anvendelse af biomasse.</a:t>
            </a:r>
            <a:br>
              <a:rPr lang="da-DK" i="1" noProof="0"/>
            </a:br>
            <a:endParaRPr lang="da-DK" i="1" noProof="0"/>
          </a:p>
          <a:p>
            <a:r>
              <a:rPr lang="da-DK" noProof="0"/>
              <a:t>I modellen er data fra forskellige analyser samlet til et værktøj der kan bruges til scenarieanalyser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E48E9DF-C705-4080-B645-958A020ED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Et samlende værktøj</a:t>
            </a:r>
          </a:p>
        </p:txBody>
      </p:sp>
    </p:spTree>
    <p:extLst>
      <p:ext uri="{BB962C8B-B14F-4D97-AF65-F5344CB8AC3E}">
        <p14:creationId xmlns:p14="http://schemas.microsoft.com/office/powerpoint/2010/main" val="486473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283F1A-AF54-4F78-BCD7-C2535FC9F0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Her kan I justere på forskellige parametre for at indstille et scenari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Her få I også vist resultaterne af scenariet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6B2389-3D49-4884-888E-BBD93E6EB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MODELLEN HAR TRE AR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A8C37A-6940-4E8D-BCC1-83825A5B2A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Hjernen i modellen med baggrunds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I skal </a:t>
            </a:r>
            <a:r>
              <a:rPr lang="da-DK" sz="1600" i="1" noProof="0"/>
              <a:t>ikke</a:t>
            </a:r>
            <a:r>
              <a:rPr lang="da-DK" sz="1600" noProof="0"/>
              <a:t> ændre i dette ark for at lave scenari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Brug dette ark til at åbne scenariearkene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21C875-EAC5-4522-ADDE-37D95E2F89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Her kan man sammenligne to eller flere scenarier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51EB09-AA13-461F-831C-7864690B5E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noProof="0"/>
              <a:t>DK-</a:t>
            </a:r>
            <a:r>
              <a:rPr lang="da-DK" noProof="0" err="1"/>
              <a:t>BioRes</a:t>
            </a:r>
            <a:endParaRPr lang="da-DK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92024D-05DC-49FC-A4D3-1048314459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noProof="0"/>
              <a:t>Scenarieark (f.eks. Biomassescenarie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5AE65B6-2570-462B-AAA9-1A098704460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noProof="0"/>
              <a:t>Sammenligning af scenarier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A141E3B-727A-44B4-B96D-89D5B29A4862}"/>
              </a:ext>
            </a:extLst>
          </p:cNvPr>
          <p:cNvSpPr/>
          <p:nvPr/>
        </p:nvSpPr>
        <p:spPr>
          <a:xfrm>
            <a:off x="9670594" y="4524373"/>
            <a:ext cx="2419350" cy="225528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/>
              <a:t>OBS:</a:t>
            </a:r>
          </a:p>
          <a:p>
            <a:pPr algn="ctr"/>
            <a:endParaRPr lang="da-DK" sz="1000"/>
          </a:p>
          <a:p>
            <a:pPr algn="ctr"/>
            <a:r>
              <a:rPr lang="da-DK" sz="1400"/>
              <a:t>Alle ark skal ligge i samme mappe.</a:t>
            </a:r>
          </a:p>
          <a:p>
            <a:pPr algn="ctr"/>
            <a:endParaRPr lang="da-DK" sz="1000"/>
          </a:p>
          <a:p>
            <a:pPr algn="ctr"/>
            <a:r>
              <a:rPr lang="da-DK" sz="1400"/>
              <a:t>Navnene på scenarie-arkene må ikke </a:t>
            </a:r>
            <a:r>
              <a:rPr lang="da-DK" sz="1400" err="1"/>
              <a:t>inde-holde</a:t>
            </a:r>
            <a:r>
              <a:rPr lang="da-DK" sz="1400"/>
              <a:t> mellemrum.</a:t>
            </a:r>
          </a:p>
        </p:txBody>
      </p:sp>
    </p:spTree>
    <p:extLst>
      <p:ext uri="{BB962C8B-B14F-4D97-AF65-F5344CB8AC3E}">
        <p14:creationId xmlns:p14="http://schemas.microsoft.com/office/powerpoint/2010/main" val="4061326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C3B35-727C-4F5A-9C0C-C34FC9D01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HVORDAN LAVER MAN ET SCENARIE?</a:t>
            </a:r>
          </a:p>
        </p:txBody>
      </p:sp>
    </p:spTree>
    <p:extLst>
      <p:ext uri="{BB962C8B-B14F-4D97-AF65-F5344CB8AC3E}">
        <p14:creationId xmlns:p14="http://schemas.microsoft.com/office/powerpoint/2010/main" val="15161050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6ACBD6A-750E-4C02-81A3-18D2E012C4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8327" y="3247976"/>
            <a:ext cx="2450644" cy="255774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Åben DK-</a:t>
            </a:r>
            <a:r>
              <a:rPr lang="da-DK" sz="1600" noProof="0" err="1">
                <a:latin typeface="Arial Nova Light" panose="020B0304020202020204" pitchFamily="34" charset="0"/>
              </a:rPr>
              <a:t>BioRes</a:t>
            </a:r>
            <a:r>
              <a:rPr lang="da-DK" sz="1600" noProof="0">
                <a:latin typeface="Arial Nova Light" panose="020B0304020202020204" pitchFamily="34" charset="0"/>
              </a:rPr>
              <a:t> og gå til overbli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Skriv navnet på scenariearket i det grønne fe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Klik ”Åben scenarie-fil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B4DF71-C408-409B-B988-177374B33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Lav et nyt scenariear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F11507-C087-427A-83AD-B4AF57C64E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1181" y="3247977"/>
            <a:ext cx="2450644" cy="255774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Kopiér et scenariea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Navngiv arket (uden mellemrum!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Arket skal ligge i samme mappe som DK-</a:t>
            </a:r>
            <a:r>
              <a:rPr lang="da-DK" sz="1600" noProof="0" err="1">
                <a:latin typeface="Arial Nova Light" panose="020B0304020202020204" pitchFamily="34" charset="0"/>
              </a:rPr>
              <a:t>BioRes</a:t>
            </a:r>
            <a:endParaRPr lang="da-DK" sz="1600" noProof="0">
              <a:latin typeface="Arial Nova Light" panose="020B03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894AB0-8354-4F25-9D67-4B23769EF8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15473" y="3247976"/>
            <a:ext cx="2450644" cy="255774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De grønne faner indeholder justerbare paramet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Alle grønne felter er inputparametre der kan ænd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noProof="0">
              <a:latin typeface="Arial Nova Light" panose="020B03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5C8B8F-4828-4713-88E2-5F79484D2C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1181" y="2569029"/>
            <a:ext cx="2450644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Kopi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599AD8-DA8F-46F4-B7D6-2528D22AA6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8327" y="2569029"/>
            <a:ext cx="2450644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Åben via DK-</a:t>
            </a:r>
            <a:r>
              <a:rPr lang="da-DK" noProof="0" err="1">
                <a:latin typeface="Arial Nova Light" panose="020B0304020202020204" pitchFamily="34" charset="0"/>
              </a:rPr>
              <a:t>BioRes</a:t>
            </a:r>
            <a:endParaRPr lang="da-DK" noProof="0">
              <a:latin typeface="Arial Nova Light" panose="020B03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D17EDB-8DE0-4327-9370-C57FE471C87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5473" y="2569031"/>
            <a:ext cx="2450644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Justér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2182366-8F53-4260-B779-C711BA60F66E}"/>
              </a:ext>
            </a:extLst>
          </p:cNvPr>
          <p:cNvSpPr txBox="1">
            <a:spLocks/>
          </p:cNvSpPr>
          <p:nvPr/>
        </p:nvSpPr>
        <p:spPr>
          <a:xfrm>
            <a:off x="8962619" y="3247975"/>
            <a:ext cx="2450644" cy="2557742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>
                <a:latin typeface="Arial Nova Light" panose="020B0304020202020204" pitchFamily="34" charset="0"/>
              </a:rPr>
              <a:t>Brug </a:t>
            </a:r>
            <a:r>
              <a:rPr lang="da-DK" sz="1600" err="1">
                <a:latin typeface="Arial Nova Light" panose="020B0304020202020204" pitchFamily="34" charset="0"/>
              </a:rPr>
              <a:t>ctrl</a:t>
            </a:r>
            <a:r>
              <a:rPr lang="da-DK" sz="1600">
                <a:latin typeface="Arial Nova Light" panose="020B0304020202020204" pitchFamily="34" charset="0"/>
              </a:rPr>
              <a:t> + alt + F5 for at genberegne ark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>
                <a:latin typeface="Arial Nova Light" panose="020B0304020202020204" pitchFamily="34" charset="0"/>
              </a:rPr>
              <a:t>Resultaterne kan findes i arket Resum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8FE2D97-406A-4B87-8136-FD32E2B73226}"/>
              </a:ext>
            </a:extLst>
          </p:cNvPr>
          <p:cNvSpPr txBox="1">
            <a:spLocks/>
          </p:cNvSpPr>
          <p:nvPr/>
        </p:nvSpPr>
        <p:spPr>
          <a:xfrm>
            <a:off x="8962619" y="2569029"/>
            <a:ext cx="2450644" cy="671286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 lang="en-US" sz="1800" b="0" kern="1200" dirty="0" smtClean="0">
                <a:solidFill>
                  <a:schemeClr val="bg1"/>
                </a:solidFill>
                <a:latin typeface="Abadi Extra Light" panose="020B0204020104020204" pitchFamily="34" charset="0"/>
                <a:ea typeface="+mn-ea"/>
                <a:cs typeface="Aharoni" panose="02010803020104030203" pitchFamily="2" charset="-79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>
                <a:latin typeface="Arial Nova Light" panose="020B0304020202020204" pitchFamily="34" charset="0"/>
              </a:rPr>
              <a:t>Beregn</a:t>
            </a:r>
          </a:p>
        </p:txBody>
      </p:sp>
    </p:spTree>
    <p:extLst>
      <p:ext uri="{BB962C8B-B14F-4D97-AF65-F5344CB8AC3E}">
        <p14:creationId xmlns:p14="http://schemas.microsoft.com/office/powerpoint/2010/main" val="23158371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D5F701C0-F2E7-4FC9-A70A-5352A8E05D00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35" t="31580" r="35689" b="644"/>
          <a:stretch>
            <a:fillRect/>
          </a:stretch>
        </p:blipFill>
        <p:spPr bwMode="auto">
          <a:xfrm flipH="1">
            <a:off x="3966180" y="2038575"/>
            <a:ext cx="1800000" cy="1790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Content Placeholder 5" descr="A picture containing outdoor, grass, sky, nature&#10;&#10;Description automatically generated">
            <a:extLst>
              <a:ext uri="{FF2B5EF4-FFF2-40B4-BE49-F238E27FC236}">
                <a16:creationId xmlns:a16="http://schemas.microsoft.com/office/drawing/2014/main" id="{4A4658F5-5F06-435E-9EFE-D8341C5687A7}"/>
              </a:ext>
            </a:extLst>
          </p:cNvPr>
          <p:cNvPicPr>
            <a:picLocks/>
          </p:cNvPicPr>
          <p:nvPr/>
        </p:nvPicPr>
        <p:blipFill rotWithShape="1">
          <a:blip r:embed="rId6"/>
          <a:srcRect l="44342" t="17053" r="8670"/>
          <a:stretch/>
        </p:blipFill>
        <p:spPr>
          <a:xfrm>
            <a:off x="1506541" y="2038575"/>
            <a:ext cx="1800000" cy="1800000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F708FB72-68CE-42BE-B9F6-91903F47E6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785" t="6960" r="11844" b="12763"/>
          <a:stretch/>
        </p:blipFill>
        <p:spPr bwMode="auto">
          <a:xfrm>
            <a:off x="8891453" y="2038572"/>
            <a:ext cx="1800000" cy="179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771EB83-8F2D-4632-8ACB-7FF964262F9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541" t="12104" r="31771" b="4955"/>
          <a:stretch/>
        </p:blipFill>
        <p:spPr>
          <a:xfrm>
            <a:off x="6424054" y="2038573"/>
            <a:ext cx="1800000" cy="1790691"/>
          </a:xfrm>
          <a:prstGeom prst="rect">
            <a:avLst/>
          </a:prstGeom>
        </p:spPr>
      </p:pic>
      <p:pic>
        <p:nvPicPr>
          <p:cNvPr id="7" name="Picture 6" descr="A picture containing ground, outdoor, black, close&#10;&#10;Description automatically generated">
            <a:extLst>
              <a:ext uri="{FF2B5EF4-FFF2-40B4-BE49-F238E27FC236}">
                <a16:creationId xmlns:a16="http://schemas.microsoft.com/office/drawing/2014/main" id="{0E661540-2D96-4AB5-AA6C-94CE6BAE5C2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686" t="10791" r="10640"/>
          <a:stretch/>
        </p:blipFill>
        <p:spPr>
          <a:xfrm>
            <a:off x="1498781" y="4055190"/>
            <a:ext cx="1800000" cy="180000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799C71E-2AF0-4045-8E43-8B82F2664507}"/>
              </a:ext>
            </a:extLst>
          </p:cNvPr>
          <p:cNvSpPr/>
          <p:nvPr/>
        </p:nvSpPr>
        <p:spPr>
          <a:xfrm>
            <a:off x="3973940" y="4055189"/>
            <a:ext cx="1800000" cy="1800003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0" name="Picture 2" descr="SRWMP Food Waste - Home">
            <a:extLst>
              <a:ext uri="{FF2B5EF4-FFF2-40B4-BE49-F238E27FC236}">
                <a16:creationId xmlns:a16="http://schemas.microsoft.com/office/drawing/2014/main" id="{0EB95360-2E55-44CE-9596-238DCE93D4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9881" b="81028" l="10277" r="87945">
                        <a14:foregroundMark x1="10474" y1="63043" x2="14822" y2="64229"/>
                        <a14:foregroundMark x1="85573" y1="61462" x2="87945" y2="6166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575" t="1293" r="7219" b="9980"/>
          <a:stretch/>
        </p:blipFill>
        <p:spPr bwMode="auto">
          <a:xfrm>
            <a:off x="3991335" y="3907765"/>
            <a:ext cx="1783487" cy="1628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99CF8B2-E1C1-4228-BB63-407161528E0B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6999" t="16492" r="27454" b="128"/>
          <a:stretch/>
        </p:blipFill>
        <p:spPr>
          <a:xfrm>
            <a:off x="8893218" y="4055187"/>
            <a:ext cx="1800000" cy="1801007"/>
          </a:xfrm>
          <a:prstGeom prst="rect">
            <a:avLst/>
          </a:prstGeom>
        </p:spPr>
      </p:pic>
      <p:pic>
        <p:nvPicPr>
          <p:cNvPr id="13" name="Picture 1">
            <a:extLst>
              <a:ext uri="{FF2B5EF4-FFF2-40B4-BE49-F238E27FC236}">
                <a16:creationId xmlns:a16="http://schemas.microsoft.com/office/drawing/2014/main" id="{6155EB06-8E66-45D4-BE91-A0B2BCB24916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 rotWithShape="1">
          <a:blip r:embed="rId14" r:link="rId16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colorTemperature colorTemp="72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091" t="51991" r="1109" b="-1"/>
          <a:stretch>
            <a:fillRect/>
          </a:stretch>
        </p:blipFill>
        <p:spPr bwMode="auto">
          <a:xfrm>
            <a:off x="6427934" y="4055189"/>
            <a:ext cx="1800000" cy="1801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3A4D3D82-37BC-47C1-B258-22B04BB7B8A3}"/>
              </a:ext>
            </a:extLst>
          </p:cNvPr>
          <p:cNvSpPr txBox="1">
            <a:spLocks/>
          </p:cNvSpPr>
          <p:nvPr/>
        </p:nvSpPr>
        <p:spPr>
          <a:xfrm>
            <a:off x="3962650" y="3200625"/>
            <a:ext cx="1800000" cy="628639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LANDBRUG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1BD9FACA-9EE3-4360-9400-91FE8E147EF8}"/>
              </a:ext>
            </a:extLst>
          </p:cNvPr>
          <p:cNvSpPr txBox="1">
            <a:spLocks/>
          </p:cNvSpPr>
          <p:nvPr/>
        </p:nvSpPr>
        <p:spPr>
          <a:xfrm>
            <a:off x="1506541" y="3200626"/>
            <a:ext cx="1800000" cy="638164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wrap="none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 err="1">
                <a:solidFill>
                  <a:schemeClr val="bg1"/>
                </a:solidFill>
                <a:latin typeface="Abadi Extra Light" panose="020B0204020104020204" pitchFamily="34" charset="0"/>
              </a:rPr>
              <a:t>AREALANVENDELSe</a:t>
            </a:r>
            <a:endParaRPr lang="da-DK" sz="1100" b="0" spc="300">
              <a:solidFill>
                <a:schemeClr val="bg1"/>
              </a:solidFill>
              <a:latin typeface="Abadi Extra Light" panose="020B0204020104020204" pitchFamily="34" charset="0"/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CEC3207E-1659-4EB4-9BC4-EEE879FDD4A6}"/>
              </a:ext>
            </a:extLst>
          </p:cNvPr>
          <p:cNvSpPr txBox="1">
            <a:spLocks/>
          </p:cNvSpPr>
          <p:nvPr/>
        </p:nvSpPr>
        <p:spPr>
          <a:xfrm>
            <a:off x="6416294" y="3200625"/>
            <a:ext cx="1800000" cy="62864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DER-SAMMENSÆTNING</a:t>
            </a: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C1386FEA-5500-4CD2-B9A6-4D89AE4767CA}"/>
              </a:ext>
            </a:extLst>
          </p:cNvPr>
          <p:cNvSpPr txBox="1">
            <a:spLocks/>
          </p:cNvSpPr>
          <p:nvPr/>
        </p:nvSpPr>
        <p:spPr>
          <a:xfrm>
            <a:off x="8883693" y="3200625"/>
            <a:ext cx="1800000" cy="62864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SKOVBRUG</a:t>
            </a: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612A8598-7B72-4197-872D-1D298F8A8848}"/>
              </a:ext>
            </a:extLst>
          </p:cNvPr>
          <p:cNvSpPr txBox="1">
            <a:spLocks/>
          </p:cNvSpPr>
          <p:nvPr/>
        </p:nvSpPr>
        <p:spPr>
          <a:xfrm>
            <a:off x="8900978" y="5217243"/>
            <a:ext cx="1800000" cy="63795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BIOGASANLÆG</a:t>
            </a:r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13A04703-4E5E-4C94-84B8-21C8D69E308A}"/>
              </a:ext>
            </a:extLst>
          </p:cNvPr>
          <p:cNvSpPr txBox="1">
            <a:spLocks/>
          </p:cNvSpPr>
          <p:nvPr/>
        </p:nvSpPr>
        <p:spPr>
          <a:xfrm>
            <a:off x="6433579" y="5217243"/>
            <a:ext cx="1800000" cy="63795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RBRUG AF MATERIALER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3B3500DE-56E9-4651-B633-0214044A33C4}"/>
              </a:ext>
            </a:extLst>
          </p:cNvPr>
          <p:cNvSpPr txBox="1">
            <a:spLocks/>
          </p:cNvSpPr>
          <p:nvPr/>
        </p:nvSpPr>
        <p:spPr>
          <a:xfrm>
            <a:off x="3973940" y="5217243"/>
            <a:ext cx="1800000" cy="63795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ADFÆRD</a:t>
            </a: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5F240773-D9B9-436B-88CA-71B3D3770773}"/>
              </a:ext>
            </a:extLst>
          </p:cNvPr>
          <p:cNvSpPr txBox="1">
            <a:spLocks/>
          </p:cNvSpPr>
          <p:nvPr/>
        </p:nvSpPr>
        <p:spPr>
          <a:xfrm>
            <a:off x="1493136" y="5217243"/>
            <a:ext cx="1800000" cy="63795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HAVBRUG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2B265135-2568-4E09-825A-320140F73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5164" y="518291"/>
            <a:ext cx="7291161" cy="1325563"/>
          </a:xfrm>
        </p:spPr>
        <p:txBody>
          <a:bodyPr/>
          <a:lstStyle/>
          <a:p>
            <a:r>
              <a:rPr lang="da-DK" noProof="0"/>
              <a:t>Der er otte kategorier af parametre i et scenarie</a:t>
            </a:r>
          </a:p>
        </p:txBody>
      </p:sp>
    </p:spTree>
    <p:extLst>
      <p:ext uri="{BB962C8B-B14F-4D97-AF65-F5344CB8AC3E}">
        <p14:creationId xmlns:p14="http://schemas.microsoft.com/office/powerpoint/2010/main" val="23339946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 descr="A picture containing outdoor, grass, sky, nature&#10;&#10;Description automatically generated">
            <a:extLst>
              <a:ext uri="{FF2B5EF4-FFF2-40B4-BE49-F238E27FC236}">
                <a16:creationId xmlns:a16="http://schemas.microsoft.com/office/drawing/2014/main" id="{C379F2DA-B7B9-4FA7-A271-3E45E7F52D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851" r="9148"/>
          <a:stretch/>
        </p:blipFill>
        <p:spPr>
          <a:xfrm>
            <a:off x="5861114" y="-6925"/>
            <a:ext cx="6096000" cy="6857999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5823" y="530981"/>
            <a:ext cx="4902200" cy="5130800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Tre jordbundstyper</a:t>
            </a:r>
          </a:p>
          <a:p>
            <a:pPr>
              <a:buClr>
                <a:schemeClr val="bg2"/>
              </a:buClr>
            </a:pPr>
            <a:r>
              <a:rPr lang="da-DK" sz="1400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Organogen</a:t>
            </a: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 jord med 6-12% kulstofindhold (OC6)</a:t>
            </a:r>
          </a:p>
          <a:p>
            <a:pPr>
              <a:buClr>
                <a:schemeClr val="bg2"/>
              </a:buClr>
            </a:pPr>
            <a:r>
              <a:rPr lang="da-DK" sz="1400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Organogen</a:t>
            </a: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 jord med over 12% kulstofindhold (OC12)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Råjord – både leret og sandet (JB 1-12)</a:t>
            </a:r>
          </a:p>
          <a:p>
            <a:pPr marL="0" indent="0">
              <a:buClr>
                <a:schemeClr val="bg2"/>
              </a:buClr>
              <a:buNone/>
            </a:pPr>
            <a:b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r>
              <a:rPr lang="da-DK" sz="12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De </a:t>
            </a:r>
            <a:r>
              <a:rPr lang="da-DK" sz="1200" i="1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organogene</a:t>
            </a:r>
            <a:r>
              <a:rPr lang="da-DK" sz="12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 jorde kaldes ofte lavbundejorde og jo højere kulstofindhold, des større er udledning ved dyrkning.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b="1" noProof="0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Fire anvendelsesmuligheder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Produktionsskov – Høj CO2-lagring, men lav biodiversitet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Natur – Natur på naturens præmisser med høj biodiversitet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Landbrugsafgrøder – CO2-udledning og ingen biodiversitet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Bebyggelse og infrastruktur + Ikke klassificeret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da-DK" sz="1400" noProof="0">
              <a:latin typeface="Arial Nova Light" panose="020B03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D13345-F0D4-4CFC-820B-EC56DE871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114" y="1995714"/>
            <a:ext cx="6096000" cy="1100667"/>
          </a:xfrm>
        </p:spPr>
        <p:txBody>
          <a:bodyPr/>
          <a:lstStyle/>
          <a:p>
            <a:pPr algn="ctr"/>
            <a:r>
              <a:rPr lang="da-DK" sz="2800" b="0" spc="300" noProof="0">
                <a:latin typeface="Abadi Extra Light" panose="020B0204020104020204" pitchFamily="34" charset="0"/>
              </a:rPr>
              <a:t>AREALANVENDELSE</a:t>
            </a:r>
          </a:p>
        </p:txBody>
      </p:sp>
    </p:spTree>
    <p:extLst>
      <p:ext uri="{BB962C8B-B14F-4D97-AF65-F5344CB8AC3E}">
        <p14:creationId xmlns:p14="http://schemas.microsoft.com/office/powerpoint/2010/main" val="42337166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BFCC2A4_B6FC_461D_AD6F_2E87B421B4B6&quot;,&quot;SourceFullName&quot;:&quot;cid:a79dfed2-d132-4529-8732-ee44e1981d17@eurprd04.prod.outlook.com&quot;,&quot;LastUpdate&quot;:&quot;2021-08-26 9:47 AM&quot;,&quot;UpdatedBy&quot;:&quot;afrel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1C01446_C64F_4BFC_8C53_D888D1970D4E&quot;,&quot;SourceFullName&quot;:&quot;cid:396251bc-d256-453d-9b36-e311424eaff3@eurprd04.prod.outlook.com&quot;,&quot;LastUpdate&quot;:&quot;2021-08-26 9:45 AM&quot;,&quot;UpdatedBy&quot;:&quot;afrel&quot;,&quot;IsLinked&quot;:false,&quot;IsBrokenLink&quot;:true,&quot;Type&quot;:2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BFCC2A4_B6FC_461D_AD6F_2E87B421B4B6&quot;,&quot;SourceFullName&quot;:&quot;cid:a79dfed2-d132-4529-8732-ee44e1981d17@eurprd04.prod.outlook.com&quot;,&quot;LastUpdate&quot;:&quot;2021-08-26 9:47 AM&quot;,&quot;UpdatedBy&quot;:&quot;afrel&quot;,&quot;IsLinked&quot;:false,&quot;IsBrokenLink&quot;:false,&quot;Type&quot;:2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1C01446_C64F_4BFC_8C53_D888D1970D4E&quot;,&quot;SourceFullName&quot;:&quot;cid:396251bc-d256-453d-9b36-e311424eaff3@eurprd04.prod.outlook.com&quot;,&quot;LastUpdate&quot;:&quot;2021-08-26 9:45 AM&quot;,&quot;UpdatedBy&quot;:&quot;afrel&quot;,&quot;IsLinked&quot;:false,&quot;IsBrokenLink&quot;:true,&quot;Type&quot;:2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BFCC2A4_B6FC_461D_AD6F_2E87B421B4B6&quot;,&quot;SourceFullName&quot;:&quot;cid:a79dfed2-d132-4529-8732-ee44e1981d17@eurprd04.prod.outlook.com&quot;,&quot;LastUpdate&quot;:&quot;2021-08-26 9:47 AM&quot;,&quot;UpdatedBy&quot;:&quot;afrel&quot;,&quot;IsLinked&quot;:false,&quot;IsBrokenLink&quot;:false,&quot;Type&quot;:2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1C01446_C64F_4BFC_8C53_D888D1970D4E&quot;,&quot;SourceFullName&quot;:&quot;cid:396251bc-d256-453d-9b36-e311424eaff3@eurprd04.prod.outlook.com&quot;,&quot;LastUpdate&quot;:&quot;2021-08-26 9:45 AM&quot;,&quot;UpdatedBy&quot;:&quot;afrel&quot;,&quot;IsLinked&quot;:false,&quot;IsBrokenLink&quot;:true,&quot;Type&quot;:2}"/>
</p:tagLst>
</file>

<file path=ppt/theme/theme1.xml><?xml version="1.0" encoding="utf-8"?>
<a:theme xmlns:a="http://schemas.openxmlformats.org/drawingml/2006/main" name="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sket - EML">
      <a:majorFont>
        <a:latin typeface="Asket Condensed"/>
        <a:ea typeface=""/>
        <a:cs typeface=""/>
      </a:majorFont>
      <a:minorFont>
        <a:latin typeface="Asket Extended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79493DD4-03B1-4152-A6AB-E8A891E40E6D}" vid="{77E3B391-3437-4E20-B8FD-332642B2A51A}"/>
    </a:ext>
  </a:extLst>
</a:theme>
</file>

<file path=ppt/theme/theme2.xml><?xml version="1.0" encoding="utf-8"?>
<a:theme xmlns:a="http://schemas.openxmlformats.org/drawingml/2006/main" name="1_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badi Light">
      <a:majorFont>
        <a:latin typeface="Abadi Extra Light"/>
        <a:ea typeface=""/>
        <a:cs typeface=""/>
      </a:majorFont>
      <a:minorFont>
        <a:latin typeface="Abadi Extra Light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79493DD4-03B1-4152-A6AB-E8A891E40E6D}" vid="{BDA21BCB-0E81-4B59-B47A-E5719E0FD852}"/>
    </a:ext>
  </a:extLst>
</a:theme>
</file>

<file path=ppt/theme/theme3.xml><?xml version="1.0" encoding="utf-8"?>
<a:theme xmlns:a="http://schemas.openxmlformats.org/drawingml/2006/main" name="2_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badi Light">
      <a:majorFont>
        <a:latin typeface="Abadi Extra Light"/>
        <a:ea typeface=""/>
        <a:cs typeface=""/>
      </a:majorFont>
      <a:minorFont>
        <a:latin typeface="Abadi Extra Light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79493DD4-03B1-4152-A6AB-E8A891E40E6D}" vid="{55262B41-0299-4789-860E-56340934B201}"/>
    </a:ext>
  </a:extLst>
</a:theme>
</file>

<file path=ppt/theme/theme4.xml><?xml version="1.0" encoding="utf-8"?>
<a:theme xmlns:a="http://schemas.openxmlformats.org/drawingml/2006/main" name="3_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badi Light">
      <a:majorFont>
        <a:latin typeface="Abadi Extra Light"/>
        <a:ea typeface=""/>
        <a:cs typeface=""/>
      </a:majorFont>
      <a:minorFont>
        <a:latin typeface="Abadi Extra Light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79493DD4-03B1-4152-A6AB-E8A891E40E6D}" vid="{DAC66463-69F5-4AE1-B7CC-0CD84438DA8B}"/>
    </a:ext>
  </a:extLst>
</a:theme>
</file>

<file path=ppt/theme/theme5.xml><?xml version="1.0" encoding="utf-8"?>
<a:theme xmlns:a="http://schemas.openxmlformats.org/drawingml/2006/main" name="4_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badi Light">
      <a:majorFont>
        <a:latin typeface="Abadi Extra Light"/>
        <a:ea typeface=""/>
        <a:cs typeface=""/>
      </a:majorFont>
      <a:minorFont>
        <a:latin typeface="Abadi Extra Light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 Master version 1.2" id="{E7A341BF-F0CB-4533-99DA-9676C493E81C}" vid="{FB85258C-1B0B-4106-A036-20ECB087CDAD}"/>
    </a:ext>
  </a:extLst>
</a:theme>
</file>

<file path=ppt/theme/theme6.xml><?xml version="1.0" encoding="utf-8"?>
<a:theme xmlns:a="http://schemas.openxmlformats.org/drawingml/2006/main" name="5_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badi Light">
      <a:majorFont>
        <a:latin typeface="Abadi Extra Light"/>
        <a:ea typeface=""/>
        <a:cs typeface=""/>
      </a:majorFont>
      <a:minorFont>
        <a:latin typeface="Abadi Extra Light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 Master version 1.2" id="{E7A341BF-F0CB-4533-99DA-9676C493E81C}" vid="{FDFBB3C9-7E85-48E7-8EDA-0935894308D2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1E4ED4D6B5344984C5B5CBC1A28781" ma:contentTypeVersion="13" ma:contentTypeDescription="Create a new document." ma:contentTypeScope="" ma:versionID="e39281b9c86746e8cd0a4ee29ec23118">
  <xsd:schema xmlns:xsd="http://www.w3.org/2001/XMLSchema" xmlns:xs="http://www.w3.org/2001/XMLSchema" xmlns:p="http://schemas.microsoft.com/office/2006/metadata/properties" xmlns:ns2="6218e30f-ac19-4e1a-9d42-0577826d9887" xmlns:ns3="9bef2f80-48e4-49d2-aa34-66e9d7fcf80f" targetNamespace="http://schemas.microsoft.com/office/2006/metadata/properties" ma:root="true" ma:fieldsID="a2ef454ce950c360d3a913071011f874" ns2:_="" ns3:_="">
    <xsd:import namespace="6218e30f-ac19-4e1a-9d42-0577826d9887"/>
    <xsd:import namespace="9bef2f80-48e4-49d2-aa34-66e9d7fcf80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18e30f-ac19-4e1a-9d42-0577826d98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ef2f80-48e4-49d2-aa34-66e9d7fcf80f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58B5C6-D061-4D23-A7A0-7FAB1CFD67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64EE925-C846-4D5C-98F9-9C79E3D1E108}">
  <ds:schemaRefs>
    <ds:schemaRef ds:uri="6218e30f-ac19-4e1a-9d42-0577826d988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EF93D5B-702F-4E44-8B1D-E93747D95A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18e30f-ac19-4e1a-9d42-0577826d9887"/>
    <ds:schemaRef ds:uri="9bef2f80-48e4-49d2-aa34-66e9d7fcf8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ergy Modelling Lab - Slide template v1.0</Template>
  <TotalTime>1799</TotalTime>
  <Words>2190</Words>
  <Application>Microsoft Office PowerPoint</Application>
  <PresentationFormat>Widescreen</PresentationFormat>
  <Paragraphs>305</Paragraphs>
  <Slides>3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35</vt:i4>
      </vt:variant>
    </vt:vector>
  </HeadingPairs>
  <TitlesOfParts>
    <vt:vector size="47" baseType="lpstr">
      <vt:lpstr>Abadi Extra Light</vt:lpstr>
      <vt:lpstr>Arial</vt:lpstr>
      <vt:lpstr>Arial Black</vt:lpstr>
      <vt:lpstr>Arial Nova Light</vt:lpstr>
      <vt:lpstr>Asket Extended</vt:lpstr>
      <vt:lpstr>Calibri</vt:lpstr>
      <vt:lpstr>EML</vt:lpstr>
      <vt:lpstr>1_EML</vt:lpstr>
      <vt:lpstr>2_EML</vt:lpstr>
      <vt:lpstr>3_EML</vt:lpstr>
      <vt:lpstr>4_EML</vt:lpstr>
      <vt:lpstr>5_EML</vt:lpstr>
      <vt:lpstr>Modelkursus om fremtidens danske biomasseressource</vt:lpstr>
      <vt:lpstr>Dagens plan</vt:lpstr>
      <vt:lpstr>INTRO TIL DANMARKS bioressourcemodel</vt:lpstr>
      <vt:lpstr>Et samlende værktøj</vt:lpstr>
      <vt:lpstr>MODELLEN HAR TRE ARK</vt:lpstr>
      <vt:lpstr>HVORDAN LAVER MAN ET SCENARIE?</vt:lpstr>
      <vt:lpstr>Lav et nyt scenarieark</vt:lpstr>
      <vt:lpstr>Der er otte kategorier af parametre i et scenarie</vt:lpstr>
      <vt:lpstr>AREALANVENDEL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ind resultaterne i resume-arket</vt:lpstr>
      <vt:lpstr>SAMMENLIGNING AF SCENARIER</vt:lpstr>
      <vt:lpstr>Sammenlign forskellige scenarier</vt:lpstr>
      <vt:lpstr>Eksempler på scenarier</vt:lpstr>
      <vt:lpstr>PowerPoint Presentation</vt:lpstr>
      <vt:lpstr>FORSKELLIGE VIRKEMIDLER TIL AT NÅ MÅLENE</vt:lpstr>
      <vt:lpstr>ET NOGET ANDET DANMARKSKORT</vt:lpstr>
      <vt:lpstr>ET drivhusgas-neutralt landbrug</vt:lpstr>
      <vt:lpstr>ØVELSER</vt:lpstr>
      <vt:lpstr>Lav en scenariefil</vt:lpstr>
      <vt:lpstr>AREALANVENDEL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Master version 1.0</dc:title>
  <dc:creator>Alexandra Freltoft</dc:creator>
  <cp:lastModifiedBy>Alexandra Freltoft</cp:lastModifiedBy>
  <cp:revision>2</cp:revision>
  <dcterms:created xsi:type="dcterms:W3CDTF">2021-08-25T14:17:40Z</dcterms:created>
  <dcterms:modified xsi:type="dcterms:W3CDTF">2022-06-21T07:5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1E4ED4D6B5344984C5B5CBC1A28781</vt:lpwstr>
  </property>
</Properties>
</file>